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.xml" ContentType="application/vnd.openxmlformats-officedocument.presentationml.slideLayout+xml"/>
  <Override PartName="/ppt/charts/colors1.xml" ContentType="application/vnd.ms-office.chartcolorstyl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harts/style1.xml" ContentType="application/vnd.ms-office.chartstyle+xml"/>
  <Override PartName="/ppt/theme/theme1.xml" ContentType="application/vnd.openxmlformats-officedocument.theme+xml"/>
  <Override PartName="/ppt/charts/chart1.xml" ContentType="application/vnd.openxmlformats-officedocument.drawingml.chart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6.xml" ContentType="application/vnd.openxmlformats-officedocument.presentationml.tags+xml"/>
  <Override PartName="/ppt/tags/tag18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9.xml" ContentType="application/vnd.openxmlformats-officedocument.presentationml.tags+xml"/>
  <Override PartName="/docProps/custom.xml" ContentType="application/vnd.openxmlformats-officedocument.custom-propertie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7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408" r:id="rId2"/>
    <p:sldId id="409" r:id="rId3"/>
    <p:sldId id="579" r:id="rId4"/>
    <p:sldId id="580" r:id="rId5"/>
    <p:sldId id="557" r:id="rId6"/>
    <p:sldId id="555" r:id="rId7"/>
    <p:sldId id="581" r:id="rId8"/>
    <p:sldId id="554" r:id="rId9"/>
    <p:sldId id="574" r:id="rId10"/>
  </p:sldIdLst>
  <p:sldSz cx="9906000" cy="6858000" type="A4"/>
  <p:notesSz cx="6811963" cy="9942513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488610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977221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1465832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1954442" algn="l" rtl="0" fontAlgn="base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443053" algn="l" defTabSz="97722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6pPr>
    <a:lvl7pPr marL="2931664" algn="l" defTabSz="97722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7pPr>
    <a:lvl8pPr marL="3420275" algn="l" defTabSz="97722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8pPr>
    <a:lvl9pPr marL="3908885" algn="l" defTabSz="977221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3">
          <p15:clr>
            <a:srgbClr val="A4A3A4"/>
          </p15:clr>
        </p15:guide>
        <p15:guide id="2">
          <p15:clr>
            <a:srgbClr val="A4A3A4"/>
          </p15:clr>
        </p15:guide>
        <p15:guide id="3" orient="horz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B60000"/>
    <a:srgbClr val="FF6600"/>
    <a:srgbClr val="808080"/>
    <a:srgbClr val="0065CC"/>
    <a:srgbClr val="91AFFF"/>
    <a:srgbClr val="00296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948" autoAdjust="0"/>
    <p:restoredTop sz="95122" autoAdjust="0"/>
  </p:normalViewPr>
  <p:slideViewPr>
    <p:cSldViewPr snapToGrid="0">
      <p:cViewPr>
        <p:scale>
          <a:sx n="103" d="100"/>
          <a:sy n="103" d="100"/>
        </p:scale>
        <p:origin x="1096" y="592"/>
      </p:cViewPr>
      <p:guideLst>
        <p:guide orient="horz" pos="253"/>
        <p:guide/>
        <p:guide orient="horz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8616"/>
    </p:cViewPr>
  </p:sorterViewPr>
  <p:notesViewPr>
    <p:cSldViewPr snapToGrid="0">
      <p:cViewPr varScale="1">
        <p:scale>
          <a:sx n="71" d="100"/>
          <a:sy n="71" d="100"/>
        </p:scale>
        <p:origin x="-1548" y="-102"/>
      </p:cViewPr>
      <p:guideLst>
        <p:guide orient="horz" pos="3132"/>
        <p:guide pos="214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tags" Target="tags/tag1.xml"/><Relationship Id="rId8" Type="http://schemas.openxmlformats.org/officeDocument/2006/relationships/slide" Target="slides/slide7.xml"/><Relationship Id="rId18" Type="http://schemas.openxmlformats.org/officeDocument/2006/relationships/customXml" Target="../customXml/item1.xml"/><Relationship Id="rId3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7" Type="http://schemas.openxmlformats.org/officeDocument/2006/relationships/slide" Target="slides/slide6.xml"/><Relationship Id="rId16" Type="http://schemas.openxmlformats.org/officeDocument/2006/relationships/theme" Target="theme/theme1.xml"/><Relationship Id="rId2" Type="http://schemas.openxmlformats.org/officeDocument/2006/relationships/slide" Target="slides/slide1.xml"/><Relationship Id="rId20" Type="http://schemas.openxmlformats.org/officeDocument/2006/relationships/customXml" Target="../customXml/item3.xml"/><Relationship Id="rId1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customXml" Target="../customXml/item2.xml"/><Relationship Id="rId1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4" Type="http://schemas.openxmlformats.org/officeDocument/2006/relationships/package" Target="../embeddings/Microsoft_Excel_Worksheet1.xlsx"/><Relationship Id="rId1" Type="http://schemas.microsoft.com/office/2011/relationships/chartStyle" Target="style1.xml"/><Relationship Id="rId2" Type="http://schemas.microsoft.com/office/2011/relationships/chartColorStyle" Target="colors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1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i="1" dirty="0" smtClean="0"/>
              <a:t>Payments</a:t>
            </a:r>
            <a:r>
              <a:rPr lang="en-US" b="1" i="1" baseline="0" dirty="0" smtClean="0"/>
              <a:t> by Value</a:t>
            </a:r>
            <a:endParaRPr lang="en-US" b="1" i="1" dirty="0"/>
          </a:p>
        </c:rich>
      </c:tx>
      <c:layout>
        <c:manualLayout>
          <c:xMode val="edge"/>
          <c:yMode val="edge"/>
          <c:x val="0.34130284675954"/>
          <c:y val="0.0055458406304441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1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0408877952755906"/>
          <c:y val="0.133874989864098"/>
          <c:w val="0.861035281647486"/>
          <c:h val="0.7039528540314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bi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AB4742AD-8AFA-6745-85AA-65617DDBB368}" type="VALUE">
                      <a:rPr lang="hr-HR" smtClean="0"/>
                      <a:pPr/>
                      <a:t>[VALUE]</a:t>
                    </a:fld>
                    <a:r>
                      <a:rPr lang="hr-HR" smtClean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3F54C499-118D-5548-ADC4-1F7F1534060C}" type="VALUE">
                      <a:rPr lang="hr-HR" smtClean="0"/>
                      <a:pPr/>
                      <a:t>[VALUE]</a:t>
                    </a:fld>
                    <a:r>
                      <a:rPr lang="hr-HR" smtClean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2.0</c:v>
                </c:pt>
                <c:pt idx="1">
                  <c:v>2014.0</c:v>
                </c:pt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6.28</c:v>
                </c:pt>
                <c:pt idx="1">
                  <c:v>6.8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s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C5916122-9336-F746-9BB0-3457ABDF5F58}" type="VALUE">
                      <a:rPr lang="hr-HR" smtClean="0"/>
                      <a:pPr/>
                      <a:t>[VALUE]</a:t>
                    </a:fld>
                    <a:r>
                      <a:rPr lang="hr-HR" dirty="0" smtClean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DA236912-972C-1C4A-A2A0-3D7C533A156A}" type="VALUE">
                      <a:rPr lang="hr-HR" smtClean="0"/>
                      <a:pPr/>
                      <a:t>[VALUE]</a:t>
                    </a:fld>
                    <a:r>
                      <a:rPr lang="hr-HR" dirty="0" smtClean="0"/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2.0</c:v>
                </c:pt>
                <c:pt idx="1">
                  <c:v>2014.0</c:v>
                </c:pt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93.72</c:v>
                </c:pt>
                <c:pt idx="1">
                  <c:v>93.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03631920"/>
        <c:axId val="1822047712"/>
      </c:barChart>
      <c:catAx>
        <c:axId val="-20036319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22047712"/>
        <c:crosses val="autoZero"/>
        <c:auto val="1"/>
        <c:lblAlgn val="ctr"/>
        <c:lblOffset val="100"/>
        <c:noMultiLvlLbl val="0"/>
      </c:catAx>
      <c:valAx>
        <c:axId val="18220477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2003631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blipFill dpi="0" rotWithShape="1">
      <a:blip xmlns:r="http://schemas.openxmlformats.org/officeDocument/2006/relationships" r:embed="rId3">
        <a:alphaModFix amt="23000"/>
      </a:blip>
      <a:srcRect/>
      <a:stretch>
        <a:fillRect l="-6000" t="6000" r="-4000"/>
      </a:stretch>
    </a:blipFill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46063" y="623888"/>
            <a:ext cx="6319837" cy="437673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69850" y="5342515"/>
            <a:ext cx="5872272" cy="13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54571" y="9561867"/>
            <a:ext cx="1875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42060" y="111119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56863" rtl="0" eaLnBrk="0" fontAlgn="base" hangingPunct="0">
      <a:spcBef>
        <a:spcPct val="0"/>
      </a:spcBef>
      <a:spcAft>
        <a:spcPct val="0"/>
      </a:spcAft>
      <a:buClr>
        <a:schemeClr val="tx2"/>
      </a:buClr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125546" indent="-123850" algn="l" defTabSz="95686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320651" indent="-193408" algn="l" defTabSz="95686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456376" indent="-134029" algn="l" defTabSz="95686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580225" indent="-122153" algn="l" defTabSz="95686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443053" algn="l" defTabSz="97722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31664" algn="l" defTabSz="97722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20275" algn="l" defTabSz="97722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8885" algn="l" defTabSz="97722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1629" y="5342510"/>
            <a:ext cx="5804921" cy="26161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57164" y="9561867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886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9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52500" y="685800"/>
            <a:ext cx="4953000" cy="3429000"/>
          </a:xfrm>
          <a:ln/>
        </p:spPr>
      </p:sp>
      <p:sp>
        <p:nvSpPr>
          <p:cNvPr id="2519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216068" name="Slide Number Placeholder 3"/>
          <p:cNvSpPr>
            <a:spLocks noGrp="1"/>
          </p:cNvSpPr>
          <p:nvPr>
            <p:ph type="sldNum" sz="quarter" idx="5"/>
          </p:nvPr>
        </p:nvSpPr>
        <p:spPr>
          <a:extLst/>
        </p:spPr>
        <p:txBody>
          <a:bodyPr/>
          <a:lstStyle>
            <a:lvl1pPr algn="ctr" defTabSz="9191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defRPr sz="20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 algn="ctr" defTabSz="9191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defRPr sz="20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 algn="ctr" defTabSz="9191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defRPr sz="20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 algn="ctr" defTabSz="9191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defRPr sz="20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 algn="ctr" defTabSz="919163" eaLnBrk="0" hangingPunct="0">
              <a:spcBef>
                <a:spcPct val="20000"/>
              </a:spcBef>
              <a:buClr>
                <a:schemeClr val="tx2"/>
              </a:buClr>
              <a:buFont typeface="Wingdings" pitchFamily="2" charset="2"/>
              <a:defRPr sz="20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algn="ctr" defTabSz="9191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algn="ctr" defTabSz="9191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algn="ctr" defTabSz="9191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algn="ctr" defTabSz="91916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0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FontTx/>
              <a:buNone/>
              <a:defRPr/>
            </a:pPr>
            <a:fld id="{FDF05AB3-5EBB-4ED3-BB43-4FF47DE9433B}" type="slidenum">
              <a:rPr lang="en-US" sz="1300" b="0" smtClean="0">
                <a:solidFill>
                  <a:prstClr val="black"/>
                </a:solidFill>
                <a:latin typeface="Tahoma" pitchFamily="34" charset="0"/>
              </a:rPr>
              <a:pPr algn="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t>7</a:t>
            </a:fld>
            <a:endParaRPr lang="en-US" sz="1300" b="0" smtClean="0">
              <a:solidFill>
                <a:prstClr val="black"/>
              </a:solidFill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523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5.jpeg"/><Relationship Id="rId5" Type="http://schemas.openxmlformats.org/officeDocument/2006/relationships/oleObject" Target="../embeddings/oleObject2.bin"/><Relationship Id="rId6" Type="http://schemas.openxmlformats.org/officeDocument/2006/relationships/image" Target="../media/image4.emf"/><Relationship Id="rId7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2" Type="http://schemas.openxmlformats.org/officeDocument/2006/relationships/tags" Target="../tags/tag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9" descr="C:\Users\Krishnakumar Krish\Desktop\DO NOT DELETE\2014\July\22\NA0003-Omid-Kassiri.jpg"/>
          <p:cNvPicPr>
            <a:picLocks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508" y="-63604"/>
            <a:ext cx="9902492" cy="6985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1775257"/>
              </p:ext>
            </p:ext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918278" y="6065954"/>
            <a:ext cx="5455758" cy="516699"/>
            <a:chOff x="1663" y="3099"/>
            <a:chExt cx="3109" cy="31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99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500" dirty="0" smtClean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500" dirty="0" smtClean="0">
                  <a:solidFill>
                    <a:schemeClr val="bg1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918279" y="1303574"/>
            <a:ext cx="6201071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3400" b="1" noProof="0" dirty="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918279" y="5352179"/>
            <a:ext cx="6423544" cy="230832"/>
          </a:xfrm>
        </p:spPr>
        <p:txBody>
          <a:bodyPr>
            <a:spAutoFit/>
          </a:bodyPr>
          <a:lstStyle>
            <a:lvl1pPr>
              <a:defRPr sz="15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pic>
        <p:nvPicPr>
          <p:cNvPr id="17" name="Picture 54" descr="C:\Users\Krishnakumar Krish\Desktop\DO NOT DELETE\2014\July\22\bank.png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174" y="739612"/>
            <a:ext cx="2045298" cy="1292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79144" y="282634"/>
            <a:ext cx="7961465" cy="307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9446236" y="6566446"/>
            <a:ext cx="230760" cy="15549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/>
            <a:fld id="{3BF66AC6-7445-4DEB-96EB-AAFE34D41C1C}" type="slidenum">
              <a:rPr lang="en-US" sz="1100" b="0" i="0" baseline="0" smtClean="0"/>
              <a:pPr algn="r"/>
              <a:t>‹#›</a:t>
            </a:fld>
            <a:endParaRPr lang="en-US" sz="11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69855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179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7376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5502" y="301171"/>
            <a:ext cx="8442457" cy="30777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530" y="1150706"/>
            <a:ext cx="8901706" cy="503433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9446236" y="6566446"/>
            <a:ext cx="230760" cy="15549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/>
            <a:fld id="{3BF66AC6-7445-4DEB-96EB-AAFE34D41C1C}" type="slidenum">
              <a:rPr lang="en-US" sz="1100" b="0" i="0" baseline="0" smtClean="0"/>
              <a:pPr algn="r"/>
              <a:t>‹#›</a:t>
            </a:fld>
            <a:endParaRPr lang="en-US" sz="11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1714374941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3.xml"/><Relationship Id="rId20" Type="http://schemas.openxmlformats.org/officeDocument/2006/relationships/tags" Target="../tags/tag14.xml"/><Relationship Id="rId21" Type="http://schemas.openxmlformats.org/officeDocument/2006/relationships/tags" Target="../tags/tag15.xml"/><Relationship Id="rId22" Type="http://schemas.openxmlformats.org/officeDocument/2006/relationships/tags" Target="../tags/tag16.xml"/><Relationship Id="rId23" Type="http://schemas.openxmlformats.org/officeDocument/2006/relationships/tags" Target="../tags/tag17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1.emf"/><Relationship Id="rId26" Type="http://schemas.openxmlformats.org/officeDocument/2006/relationships/image" Target="../media/image2.jpeg"/><Relationship Id="rId27" Type="http://schemas.openxmlformats.org/officeDocument/2006/relationships/image" Target="../media/image3.png"/><Relationship Id="rId10" Type="http://schemas.openxmlformats.org/officeDocument/2006/relationships/tags" Target="../tags/tag4.xml"/><Relationship Id="rId11" Type="http://schemas.openxmlformats.org/officeDocument/2006/relationships/tags" Target="../tags/tag5.xml"/><Relationship Id="rId12" Type="http://schemas.openxmlformats.org/officeDocument/2006/relationships/tags" Target="../tags/tag6.xml"/><Relationship Id="rId13" Type="http://schemas.openxmlformats.org/officeDocument/2006/relationships/tags" Target="../tags/tag7.xml"/><Relationship Id="rId14" Type="http://schemas.openxmlformats.org/officeDocument/2006/relationships/tags" Target="../tags/tag8.xml"/><Relationship Id="rId15" Type="http://schemas.openxmlformats.org/officeDocument/2006/relationships/tags" Target="../tags/tag9.xml"/><Relationship Id="rId16" Type="http://schemas.openxmlformats.org/officeDocument/2006/relationships/tags" Target="../tags/tag10.xml"/><Relationship Id="rId17" Type="http://schemas.openxmlformats.org/officeDocument/2006/relationships/tags" Target="../tags/tag11.xml"/><Relationship Id="rId18" Type="http://schemas.openxmlformats.org/officeDocument/2006/relationships/tags" Target="../tags/tag12.xml"/><Relationship Id="rId1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90324093"/>
              </p:ext>
            </p:extLst>
          </p:nvPr>
        </p:nvGraphicFramePr>
        <p:xfrm>
          <a:off x="0" y="0"/>
          <a:ext cx="175483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21" descr="C:\Users\Krishnakumar Krish\Desktop\DO NOT DELETE\2014\June\18\Untitled-4.jp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-1754" y="-3240"/>
            <a:ext cx="9907754" cy="6861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SlideBottomBar"/>
          <p:cNvSpPr>
            <a:spLocks noChangeArrowheads="1"/>
          </p:cNvSpPr>
          <p:nvPr/>
        </p:nvSpPr>
        <p:spPr bwMode="ltGray">
          <a:xfrm>
            <a:off x="-878" y="6427149"/>
            <a:ext cx="9906000" cy="430852"/>
          </a:xfrm>
          <a:prstGeom prst="rect">
            <a:avLst/>
          </a:prstGeom>
          <a:solidFill>
            <a:srgbClr val="E69A4E"/>
          </a:solidFill>
          <a:ln>
            <a:noFill/>
          </a:ln>
          <a:effectLst/>
          <a:extLst/>
        </p:spPr>
        <p:txBody>
          <a:bodyPr wrap="none" lIns="97722" tIns="48861" rIns="97722" bIns="48861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77565" y="3112482"/>
            <a:ext cx="475558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Text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78266" y="281014"/>
            <a:ext cx="7961465" cy="307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779144" y="18300"/>
            <a:ext cx="795089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300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300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89523" y="908518"/>
            <a:ext cx="9526956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700" dirty="0" smtClean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178443" y="2493740"/>
            <a:ext cx="4755582" cy="540995"/>
            <a:chOff x="915" y="696"/>
            <a:chExt cx="2686" cy="33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6"/>
              <a:ext cx="2686" cy="3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 smtClean="0">
                  <a:latin typeface="+mn-lt"/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r>
                <a:rPr lang="en-GB" dirty="0" smtClean="0">
                  <a:solidFill>
                    <a:srgbClr val="808080"/>
                  </a:solidFill>
                  <a:latin typeface="+mn-lt"/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dirty="0">
                <a:solidFill>
                  <a:srgbClr val="808080"/>
                </a:solidFill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5" name="McK Slide Elements" hidden="1"/>
          <p:cNvGrpSpPr/>
          <p:nvPr/>
        </p:nvGrpSpPr>
        <p:grpSpPr bwMode="auto">
          <a:xfrm>
            <a:off x="188646" y="6213062"/>
            <a:ext cx="9526956" cy="523872"/>
            <a:chOff x="119064" y="6090960"/>
            <a:chExt cx="8653461" cy="513443"/>
          </a:xfrm>
        </p:grpSpPr>
        <p:sp>
          <p:nvSpPr>
            <p:cNvPr id="106" name="McK 4. Footnote"/>
            <p:cNvSpPr txBox="1">
              <a:spLocks noChangeArrowheads="1"/>
            </p:cNvSpPr>
            <p:nvPr/>
          </p:nvSpPr>
          <p:spPr bwMode="auto">
            <a:xfrm>
              <a:off x="119064" y="6090960"/>
              <a:ext cx="8653461" cy="1659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1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07" name="McK 5. Source"/>
            <p:cNvSpPr>
              <a:spLocks noChangeArrowheads="1"/>
            </p:cNvSpPr>
            <p:nvPr/>
          </p:nvSpPr>
          <p:spPr bwMode="auto">
            <a:xfrm>
              <a:off x="119064" y="6438496"/>
              <a:ext cx="7533722" cy="1659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 anchorCtr="0">
              <a:spAutoFit/>
            </a:bodyPr>
            <a:lstStyle/>
            <a:p>
              <a:pPr marL="523875" indent="-523875" defTabSz="956761">
                <a:tabLst/>
              </a:pPr>
              <a:r>
                <a:rPr lang="en-US" sz="1100" baseline="0" noProof="0" dirty="0" smtClean="0">
                  <a:solidFill>
                    <a:srgbClr val="000000"/>
                  </a:solidFill>
                  <a:latin typeface="+mn-lt"/>
                </a:rPr>
                <a:t>Source: Source</a:t>
              </a:r>
            </a:p>
          </p:txBody>
        </p:sp>
      </p:grpSp>
      <p:pic>
        <p:nvPicPr>
          <p:cNvPr id="59" name="Picture 22" descr="C:\Users\Krishnakumar Krish\Desktop\DO NOT DELETE\2014\June\18\LOGOO.png"/>
          <p:cNvPicPr>
            <a:picLocks noChangeAspect="1" noChangeArrowheads="1"/>
          </p:cNvPicPr>
          <p:nvPr userDrawn="1"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11" t="6694" r="4123" b="7089"/>
          <a:stretch/>
        </p:blipFill>
        <p:spPr bwMode="auto">
          <a:xfrm>
            <a:off x="8686830" y="6480194"/>
            <a:ext cx="581552" cy="344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4" name="LegendBoxes" hidden="1"/>
          <p:cNvGrpSpPr>
            <a:grpSpLocks/>
          </p:cNvGrpSpPr>
          <p:nvPr userDrawn="1"/>
        </p:nvGrpSpPr>
        <p:grpSpPr bwMode="auto">
          <a:xfrm>
            <a:off x="8813060" y="971065"/>
            <a:ext cx="849161" cy="1237415"/>
            <a:chOff x="4936" y="176"/>
            <a:chExt cx="400" cy="620"/>
          </a:xfrm>
        </p:grpSpPr>
        <p:sp>
          <p:nvSpPr>
            <p:cNvPr id="14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0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082632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4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4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0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082632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4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4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0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082632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5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5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0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082632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5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53" name="LegendLines" hidden="1"/>
          <p:cNvGrpSpPr>
            <a:grpSpLocks/>
          </p:cNvGrpSpPr>
          <p:nvPr userDrawn="1"/>
        </p:nvGrpSpPr>
        <p:grpSpPr bwMode="auto">
          <a:xfrm>
            <a:off x="8401219" y="971065"/>
            <a:ext cx="1261002" cy="872178"/>
            <a:chOff x="4750" y="176"/>
            <a:chExt cx="594" cy="437"/>
          </a:xfrm>
        </p:grpSpPr>
        <p:sp>
          <p:nvSpPr>
            <p:cNvPr id="15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5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5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5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0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082632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5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0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082632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5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0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082632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160" name="McKSticker" hidden="1"/>
          <p:cNvGrpSpPr/>
          <p:nvPr userDrawn="1"/>
        </p:nvGrpSpPr>
        <p:grpSpPr bwMode="auto">
          <a:xfrm>
            <a:off x="8595325" y="971065"/>
            <a:ext cx="1066896" cy="212366"/>
            <a:chOff x="7942953" y="285750"/>
            <a:chExt cx="797822" cy="168919"/>
          </a:xfrm>
        </p:grpSpPr>
        <p:sp>
          <p:nvSpPr>
            <p:cNvPr id="161" name="StickerRectangle"/>
            <p:cNvSpPr>
              <a:spLocks noChangeArrowheads="1"/>
            </p:cNvSpPr>
            <p:nvPr/>
          </p:nvSpPr>
          <p:spPr bwMode="auto">
            <a:xfrm>
              <a:off x="7942953" y="285750"/>
              <a:ext cx="797822" cy="1689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2082632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62" name="AutoShape 31"/>
            <p:cNvCxnSpPr>
              <a:cxnSpLocks noChangeShapeType="1"/>
              <a:stCxn id="161" idx="2"/>
              <a:endCxn id="161" idx="4"/>
            </p:cNvCxnSpPr>
            <p:nvPr/>
          </p:nvCxnSpPr>
          <p:spPr bwMode="auto">
            <a:xfrm>
              <a:off x="7942953" y="285750"/>
              <a:ext cx="0" cy="16891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3" name="AutoShape 32"/>
            <p:cNvCxnSpPr>
              <a:cxnSpLocks noChangeShapeType="1"/>
              <a:stCxn id="161" idx="4"/>
              <a:endCxn id="161" idx="6"/>
            </p:cNvCxnSpPr>
            <p:nvPr/>
          </p:nvCxnSpPr>
          <p:spPr bwMode="auto">
            <a:xfrm>
              <a:off x="7942953" y="454669"/>
              <a:ext cx="79782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64" name="LegendMoons" hidden="1"/>
          <p:cNvGrpSpPr/>
          <p:nvPr userDrawn="1"/>
        </p:nvGrpSpPr>
        <p:grpSpPr bwMode="auto">
          <a:xfrm>
            <a:off x="8723640" y="971065"/>
            <a:ext cx="938581" cy="1642571"/>
            <a:chOff x="7769225" y="2105025"/>
            <a:chExt cx="701869" cy="1306516"/>
          </a:xfrm>
        </p:grpSpPr>
        <p:grpSp>
          <p:nvGrpSpPr>
            <p:cNvPr id="165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183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/>
              </a:p>
            </p:txBody>
          </p:sp>
          <p:sp>
            <p:nvSpPr>
              <p:cNvPr id="184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/>
              </a:p>
            </p:txBody>
          </p:sp>
        </p:grpSp>
        <p:grpSp>
          <p:nvGrpSpPr>
            <p:cNvPr id="166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18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/>
              </a:p>
            </p:txBody>
          </p:sp>
          <p:sp>
            <p:nvSpPr>
              <p:cNvPr id="18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/>
              </a:p>
            </p:txBody>
          </p:sp>
        </p:grpSp>
        <p:grpSp>
          <p:nvGrpSpPr>
            <p:cNvPr id="167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17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/>
              </a:p>
            </p:txBody>
          </p:sp>
          <p:sp>
            <p:nvSpPr>
              <p:cNvPr id="18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/>
              </a:p>
            </p:txBody>
          </p:sp>
        </p:grpSp>
        <p:grpSp>
          <p:nvGrpSpPr>
            <p:cNvPr id="168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177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/>
              </a:p>
            </p:txBody>
          </p:sp>
          <p:sp>
            <p:nvSpPr>
              <p:cNvPr id="178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/>
              </a:p>
            </p:txBody>
          </p:sp>
        </p:grpSp>
        <p:sp>
          <p:nvSpPr>
            <p:cNvPr id="1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381194" cy="1468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082632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381194" cy="1468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082632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381194" cy="1468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082632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381194" cy="1468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082632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381194" cy="1468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2082632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7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175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/>
              </a:p>
            </p:txBody>
          </p:sp>
          <p:sp>
            <p:nvSpPr>
              <p:cNvPr id="176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/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56863" rtl="0" eaLnBrk="1" fontAlgn="base" hangingPunct="1">
        <a:spcBef>
          <a:spcPct val="0"/>
        </a:spcBef>
        <a:spcAft>
          <a:spcPct val="0"/>
        </a:spcAft>
        <a:tabLst>
          <a:tab pos="386817" algn="l"/>
        </a:tabLst>
        <a:defRPr sz="2000" b="1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5686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686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686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686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610" algn="l" defTabSz="95686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221" algn="l" defTabSz="95686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5832" algn="l" defTabSz="95686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442" algn="l" defTabSz="956863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686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206981" indent="-205285" algn="l" defTabSz="9568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7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88610" indent="-279934" algn="l" defTabSz="9568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7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56571" indent="-166263" algn="l" defTabSz="9568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7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801321" indent="-139118" algn="l" defTabSz="9568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801321" indent="-139118" algn="l" defTabSz="9568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801321" indent="-139118" algn="l" defTabSz="9568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801321" indent="-139118" algn="l" defTabSz="9568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801321" indent="-139118" algn="l" defTabSz="95686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7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610" algn="l" defTabSz="977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221" algn="l" defTabSz="977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5832" algn="l" defTabSz="977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442" algn="l" defTabSz="977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053" algn="l" defTabSz="977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1664" algn="l" defTabSz="977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275" algn="l" defTabSz="977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8885" algn="l" defTabSz="97722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7.emf"/><Relationship Id="rId7" Type="http://schemas.openxmlformats.org/officeDocument/2006/relationships/image" Target="../media/image8.png"/><Relationship Id="rId8" Type="http://schemas.openxmlformats.org/officeDocument/2006/relationships/image" Target="../media/image9.png"/><Relationship Id="rId9" Type="http://schemas.openxmlformats.org/officeDocument/2006/relationships/image" Target="../media/image10.png"/><Relationship Id="rId10" Type="http://schemas.openxmlformats.org/officeDocument/2006/relationships/image" Target="../media/image11.png"/><Relationship Id="rId11" Type="http://schemas.openxmlformats.org/officeDocument/2006/relationships/image" Target="../media/image12.png"/><Relationship Id="rId1" Type="http://schemas.openxmlformats.org/officeDocument/2006/relationships/vmlDrawing" Target="../drawings/vmlDrawing3.vml"/><Relationship Id="rId2" Type="http://schemas.openxmlformats.org/officeDocument/2006/relationships/tags" Target="../tags/tag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tiff"/><Relationship Id="rId3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Relationship Id="rId3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4" Type="http://schemas.openxmlformats.org/officeDocument/2006/relationships/image" Target="../media/image20.jpg"/><Relationship Id="rId5" Type="http://schemas.openxmlformats.org/officeDocument/2006/relationships/image" Target="../media/image21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18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4" Type="http://schemas.openxmlformats.org/officeDocument/2006/relationships/image" Target="../media/image23.jpeg"/><Relationship Id="rId5" Type="http://schemas.openxmlformats.org/officeDocument/2006/relationships/image" Target="../media/image24.png"/><Relationship Id="rId6" Type="http://schemas.openxmlformats.org/officeDocument/2006/relationships/image" Target="../media/image25.jpe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1639" y="1883080"/>
            <a:ext cx="6201071" cy="1354217"/>
          </a:xfrm>
        </p:spPr>
        <p:txBody>
          <a:bodyPr/>
          <a:lstStyle/>
          <a:p>
            <a:pPr algn="ctr"/>
            <a:r>
              <a:rPr lang="en-US" i="1" dirty="0" smtClean="0"/>
              <a:t>Merchant Payments</a:t>
            </a:r>
            <a:br>
              <a:rPr lang="en-US" i="1" dirty="0" smtClean="0"/>
            </a:br>
            <a:r>
              <a:rPr lang="en-US" i="1" dirty="0"/>
              <a:t/>
            </a:r>
            <a:br>
              <a:rPr lang="en-US" i="1" dirty="0"/>
            </a:br>
            <a:r>
              <a:rPr lang="en-US" sz="2000" i="1" dirty="0"/>
              <a:t>ITU </a:t>
            </a:r>
            <a:r>
              <a:rPr lang="en-US" sz="2000" i="1" dirty="0" smtClean="0"/>
              <a:t>Digital Financial Services Workshop</a:t>
            </a:r>
            <a:endParaRPr lang="en-US" i="1" dirty="0"/>
          </a:p>
        </p:txBody>
      </p:sp>
      <p:sp>
        <p:nvSpPr>
          <p:cNvPr id="4" name="Subtitle 2"/>
          <p:cNvSpPr txBox="1">
            <a:spLocks/>
          </p:cNvSpPr>
          <p:nvPr/>
        </p:nvSpPr>
        <p:spPr bwMode="auto">
          <a:xfrm>
            <a:off x="2918279" y="4907679"/>
            <a:ext cx="6423544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5686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50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206981" indent="-205285" algn="l" defTabSz="95686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7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88610" indent="-279934" algn="l" defTabSz="95686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7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56571" indent="-166263" algn="l" defTabSz="95686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7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801321" indent="-139118" algn="l" defTabSz="95686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801321" indent="-139118" algn="l" defTabSz="95686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6pPr>
            <a:lvl7pPr marL="801321" indent="-139118" algn="l" defTabSz="95686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7pPr>
            <a:lvl8pPr marL="801321" indent="-139118" algn="l" defTabSz="95686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8pPr>
            <a:lvl9pPr marL="801321" indent="-139118" algn="l" defTabSz="95686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dirty="0" smtClean="0"/>
              <a:t>Ronald Webb</a:t>
            </a:r>
          </a:p>
          <a:p>
            <a:r>
              <a:rPr lang="en-US" sz="1800" dirty="0" smtClean="0"/>
              <a:t>Group Director of Payment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30174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0548469"/>
              </p:ext>
            </p:extLst>
          </p:nvPr>
        </p:nvGraphicFramePr>
        <p:xfrm>
          <a:off x="1564" y="1402"/>
          <a:ext cx="1563" cy="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64" y="1402"/>
                        <a:ext cx="1563" cy="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1336248" y="1471627"/>
            <a:ext cx="7110925" cy="46407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339629" y="1295378"/>
            <a:ext cx="3414365" cy="481732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036188" y="1130734"/>
            <a:ext cx="3414365" cy="481732"/>
          </a:xfrm>
          <a:prstGeom prst="rect">
            <a:avLst/>
          </a:prstGeom>
          <a:gradFill>
            <a:gsLst>
              <a:gs pos="35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sp>
        <p:nvSpPr>
          <p:cNvPr id="40" name="Rectangle 22"/>
          <p:cNvSpPr>
            <a:spLocks noChangeArrowheads="1"/>
          </p:cNvSpPr>
          <p:nvPr/>
        </p:nvSpPr>
        <p:spPr bwMode="gray">
          <a:xfrm>
            <a:off x="1693490" y="1419332"/>
            <a:ext cx="2458109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6526" indent="-366526" defTabSz="957040" eaLnBrk="0" hangingPunct="0">
              <a:buClr>
                <a:schemeClr val="tx2"/>
              </a:buClr>
            </a:pPr>
            <a:r>
              <a:rPr lang="en-US" sz="1300" b="1" dirty="0" smtClean="0">
                <a:solidFill>
                  <a:schemeClr val="accent4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Traditional Merchant Acquiring</a:t>
            </a:r>
            <a:endParaRPr lang="en-US" sz="1300" b="1" dirty="0">
              <a:solidFill>
                <a:schemeClr val="accent4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gray">
          <a:xfrm>
            <a:off x="6247739" y="1271572"/>
            <a:ext cx="1311256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6526" indent="-366526" defTabSz="957040" eaLnBrk="0" hangingPunct="0">
              <a:buClr>
                <a:schemeClr val="tx2"/>
              </a:buClr>
            </a:pPr>
            <a:r>
              <a:rPr lang="en-US" sz="1300" b="1" dirty="0" smtClean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Agency Banking</a:t>
            </a:r>
            <a:endParaRPr lang="en-US" sz="1300" b="1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Parallelogram 7"/>
          <p:cNvSpPr/>
          <p:nvPr/>
        </p:nvSpPr>
        <p:spPr>
          <a:xfrm rot="16200000" flipH="1">
            <a:off x="4571902" y="1316208"/>
            <a:ext cx="646376" cy="275429"/>
          </a:xfrm>
          <a:prstGeom prst="parallelogram">
            <a:avLst>
              <a:gd name="adj" fmla="val 64383"/>
            </a:avLst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100000">
                <a:schemeClr val="accent3"/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/>
            <a:endParaRPr lang="en-US" sz="1300" dirty="0" err="1">
              <a:solidFill>
                <a:schemeClr val="tx1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968249" y="1899644"/>
            <a:ext cx="0" cy="3975571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/>
        </p:nvGrpSpPr>
        <p:grpSpPr>
          <a:xfrm>
            <a:off x="2365182" y="1838144"/>
            <a:ext cx="5206137" cy="596017"/>
            <a:chOff x="1738211" y="1777247"/>
            <a:chExt cx="5485017" cy="788416"/>
          </a:xfrm>
        </p:grpSpPr>
        <p:sp>
          <p:nvSpPr>
            <p:cNvPr id="24" name="Rectangle 3"/>
            <p:cNvSpPr txBox="1"/>
            <p:nvPr/>
          </p:nvSpPr>
          <p:spPr>
            <a:xfrm>
              <a:off x="1738211" y="2301028"/>
              <a:ext cx="1508621" cy="26463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1300" dirty="0" smtClean="0">
                  <a:solidFill>
                    <a:schemeClr val="accent6"/>
                  </a:solidFill>
                </a:rPr>
                <a:t>Merchants to </a:t>
              </a:r>
              <a:r>
                <a:rPr lang="en-US" sz="1300" dirty="0">
                  <a:solidFill>
                    <a:schemeClr val="accent6"/>
                  </a:solidFill>
                </a:rPr>
                <a:t>date</a:t>
              </a:r>
            </a:p>
          </p:txBody>
        </p:sp>
        <p:sp>
          <p:nvSpPr>
            <p:cNvPr id="25" name="Rectangle 3"/>
            <p:cNvSpPr txBox="1"/>
            <p:nvPr/>
          </p:nvSpPr>
          <p:spPr>
            <a:xfrm>
              <a:off x="1738211" y="1777247"/>
              <a:ext cx="1508621" cy="61069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3000" dirty="0" smtClean="0">
                  <a:solidFill>
                    <a:schemeClr val="accent4"/>
                  </a:solidFill>
                  <a:latin typeface="Century Gothic" pitchFamily="34" charset="0"/>
                </a:rPr>
                <a:t>~7,200</a:t>
              </a:r>
              <a:endParaRPr lang="en-US" sz="3000" dirty="0">
                <a:solidFill>
                  <a:schemeClr val="accent4"/>
                </a:solidFill>
                <a:latin typeface="Century Gothic" pitchFamily="34" charset="0"/>
              </a:endParaRPr>
            </a:p>
          </p:txBody>
        </p:sp>
        <p:sp>
          <p:nvSpPr>
            <p:cNvPr id="30" name="Rectangle 3"/>
            <p:cNvSpPr txBox="1"/>
            <p:nvPr/>
          </p:nvSpPr>
          <p:spPr>
            <a:xfrm>
              <a:off x="5714607" y="2301029"/>
              <a:ext cx="1508621" cy="26463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1300" dirty="0" smtClean="0">
                  <a:solidFill>
                    <a:schemeClr val="accent6"/>
                  </a:solidFill>
                </a:rPr>
                <a:t>Agents to date</a:t>
              </a:r>
              <a:endParaRPr lang="en-US" sz="1300" dirty="0">
                <a:solidFill>
                  <a:schemeClr val="accent6"/>
                </a:solidFill>
              </a:endParaRPr>
            </a:p>
          </p:txBody>
        </p:sp>
        <p:sp>
          <p:nvSpPr>
            <p:cNvPr id="31" name="Rectangle 3"/>
            <p:cNvSpPr txBox="1"/>
            <p:nvPr/>
          </p:nvSpPr>
          <p:spPr>
            <a:xfrm>
              <a:off x="5714607" y="1777247"/>
              <a:ext cx="1508621" cy="61069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3000" dirty="0" smtClean="0">
                  <a:solidFill>
                    <a:schemeClr val="accent4"/>
                  </a:solidFill>
                  <a:latin typeface="Century Gothic" pitchFamily="34" charset="0"/>
                </a:rPr>
                <a:t>~22,000</a:t>
              </a:r>
              <a:endParaRPr lang="en-US" sz="3000" dirty="0">
                <a:solidFill>
                  <a:schemeClr val="accent4"/>
                </a:solidFill>
                <a:latin typeface="Century Gothic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2412793" y="2678504"/>
            <a:ext cx="5882548" cy="656923"/>
            <a:chOff x="1788374" y="2878356"/>
            <a:chExt cx="6168900" cy="868982"/>
          </a:xfrm>
        </p:grpSpPr>
        <p:sp>
          <p:nvSpPr>
            <p:cNvPr id="50" name="Rectangle 3"/>
            <p:cNvSpPr txBox="1"/>
            <p:nvPr/>
          </p:nvSpPr>
          <p:spPr>
            <a:xfrm>
              <a:off x="1788374" y="3482704"/>
              <a:ext cx="1503054" cy="26463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1300" dirty="0" smtClean="0">
                  <a:solidFill>
                    <a:schemeClr val="accent6"/>
                  </a:solidFill>
                </a:rPr>
                <a:t>KSH per month</a:t>
              </a:r>
              <a:endParaRPr lang="en-US" sz="1300" dirty="0">
                <a:solidFill>
                  <a:schemeClr val="accent6"/>
                </a:solidFill>
              </a:endParaRPr>
            </a:p>
          </p:txBody>
        </p:sp>
        <p:sp>
          <p:nvSpPr>
            <p:cNvPr id="51" name="Rectangle 3"/>
            <p:cNvSpPr txBox="1"/>
            <p:nvPr/>
          </p:nvSpPr>
          <p:spPr>
            <a:xfrm>
              <a:off x="1895865" y="2878356"/>
              <a:ext cx="1348180" cy="61069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3000" dirty="0" smtClean="0">
                  <a:solidFill>
                    <a:schemeClr val="accent4"/>
                  </a:solidFill>
                  <a:latin typeface="Century Gothic" pitchFamily="34" charset="0"/>
                </a:rPr>
                <a:t>~3.5bn</a:t>
              </a:r>
              <a:endParaRPr lang="en-US" sz="3000" dirty="0">
                <a:solidFill>
                  <a:schemeClr val="accent4"/>
                </a:solidFill>
                <a:latin typeface="Century Gothic" pitchFamily="34" charset="0"/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5471795" y="2907070"/>
              <a:ext cx="2485479" cy="836470"/>
              <a:chOff x="5471795" y="2907070"/>
              <a:chExt cx="2485479" cy="836470"/>
            </a:xfrm>
          </p:grpSpPr>
          <p:sp>
            <p:nvSpPr>
              <p:cNvPr id="34" name="Rectangle 3"/>
              <p:cNvSpPr txBox="1"/>
              <p:nvPr/>
            </p:nvSpPr>
            <p:spPr>
              <a:xfrm>
                <a:off x="5471795" y="3478906"/>
                <a:ext cx="2276472" cy="26463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342458" lvl="0" indent="-342458">
                  <a:spcBef>
                    <a:spcPct val="20000"/>
                  </a:spcBef>
                  <a:buClr>
                    <a:srgbClr val="9A410D"/>
                  </a:buClr>
                  <a:buSzPct val="65000"/>
                  <a:buFont typeface="Monotype Sorts" pitchFamily="2" charset="2"/>
                  <a:buChar char="u"/>
                  <a:defRPr sz="2000">
                    <a:latin typeface="+mn-lt"/>
                  </a:defRPr>
                </a:lvl1pPr>
                <a:lvl2pPr marL="741995" indent="-285382">
                  <a:spcBef>
                    <a:spcPct val="20000"/>
                  </a:spcBef>
                  <a:buClr>
                    <a:srgbClr val="9A410D"/>
                  </a:buClr>
                  <a:buSzPct val="60000"/>
                  <a:buFont typeface="Monotype Sorts" pitchFamily="2" charset="2"/>
                  <a:buChar char="n"/>
                  <a:defRPr sz="2000">
                    <a:latin typeface="+mn-lt"/>
                  </a:defRPr>
                </a:lvl2pPr>
                <a:lvl3pPr marL="1141530" indent="-228306">
                  <a:spcBef>
                    <a:spcPct val="20000"/>
                  </a:spcBef>
                  <a:buClr>
                    <a:srgbClr val="9A410D"/>
                  </a:buClr>
                  <a:buChar char="•"/>
                  <a:defRPr>
                    <a:latin typeface="+mn-lt"/>
                  </a:defRPr>
                </a:lvl3pPr>
                <a:lvl4pPr marL="1598143" indent="-228306">
                  <a:spcBef>
                    <a:spcPct val="20000"/>
                  </a:spcBef>
                  <a:buClr>
                    <a:srgbClr val="9A410D"/>
                  </a:buClr>
                  <a:buFont typeface="Tahoma" pitchFamily="34" charset="0"/>
                  <a:buChar char="–"/>
                  <a:defRPr sz="1600">
                    <a:latin typeface="+mn-lt"/>
                  </a:defRPr>
                </a:lvl4pPr>
                <a:lvl5pPr marL="2054755" indent="-228306">
                  <a:spcBef>
                    <a:spcPct val="20000"/>
                  </a:spcBef>
                  <a:buClr>
                    <a:srgbClr val="9A410D"/>
                  </a:buClr>
                  <a:buFont typeface="Tahoma" pitchFamily="34" charset="0"/>
                  <a:buChar char="»"/>
                  <a:defRPr sz="1600">
                    <a:latin typeface="+mn-lt"/>
                  </a:defRPr>
                </a:lvl5pPr>
                <a:lvl6pPr marL="2511370" indent="-228306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9A410D"/>
                  </a:buClr>
                  <a:buFont typeface="Tahoma" pitchFamily="34" charset="0"/>
                  <a:buChar char="»"/>
                  <a:defRPr sz="1600">
                    <a:latin typeface="+mn-lt"/>
                  </a:defRPr>
                </a:lvl6pPr>
                <a:lvl7pPr marL="2967980" indent="-228306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9A410D"/>
                  </a:buClr>
                  <a:buFont typeface="Tahoma" pitchFamily="34" charset="0"/>
                  <a:buChar char="»"/>
                  <a:defRPr sz="1600">
                    <a:latin typeface="+mn-lt"/>
                  </a:defRPr>
                </a:lvl7pPr>
                <a:lvl8pPr marL="3424600" indent="-228306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9A410D"/>
                  </a:buClr>
                  <a:buFont typeface="Tahoma" pitchFamily="34" charset="0"/>
                  <a:buChar char="»"/>
                  <a:defRPr sz="1600">
                    <a:latin typeface="+mn-lt"/>
                  </a:defRPr>
                </a:lvl8pPr>
                <a:lvl9pPr marL="3881204" indent="-228306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9A410D"/>
                  </a:buClr>
                  <a:buFont typeface="Tahoma" pitchFamily="34" charset="0"/>
                  <a:buChar char="»"/>
                  <a:defRPr sz="1600">
                    <a:latin typeface="+mn-lt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300" dirty="0" smtClean="0">
                    <a:solidFill>
                      <a:schemeClr val="accent6"/>
                    </a:solidFill>
                  </a:rPr>
                  <a:t>Cash In – Count/Value - KSH</a:t>
                </a:r>
                <a:endParaRPr lang="en-US" sz="1300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35" name="Rectangle 3"/>
              <p:cNvSpPr txBox="1"/>
              <p:nvPr/>
            </p:nvSpPr>
            <p:spPr>
              <a:xfrm>
                <a:off x="5527393" y="2907070"/>
                <a:ext cx="2429881" cy="61069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342458" lvl="0" indent="-342458">
                  <a:spcBef>
                    <a:spcPct val="20000"/>
                  </a:spcBef>
                  <a:buClr>
                    <a:srgbClr val="9A410D"/>
                  </a:buClr>
                  <a:buSzPct val="65000"/>
                  <a:buFont typeface="Monotype Sorts" pitchFamily="2" charset="2"/>
                  <a:buChar char="u"/>
                  <a:defRPr sz="2000">
                    <a:latin typeface="+mn-lt"/>
                  </a:defRPr>
                </a:lvl1pPr>
                <a:lvl2pPr marL="741995" indent="-285382">
                  <a:spcBef>
                    <a:spcPct val="20000"/>
                  </a:spcBef>
                  <a:buClr>
                    <a:srgbClr val="9A410D"/>
                  </a:buClr>
                  <a:buSzPct val="60000"/>
                  <a:buFont typeface="Monotype Sorts" pitchFamily="2" charset="2"/>
                  <a:buChar char="n"/>
                  <a:defRPr sz="2000">
                    <a:latin typeface="+mn-lt"/>
                  </a:defRPr>
                </a:lvl2pPr>
                <a:lvl3pPr marL="1141530" indent="-228306">
                  <a:spcBef>
                    <a:spcPct val="20000"/>
                  </a:spcBef>
                  <a:buClr>
                    <a:srgbClr val="9A410D"/>
                  </a:buClr>
                  <a:buChar char="•"/>
                  <a:defRPr>
                    <a:latin typeface="+mn-lt"/>
                  </a:defRPr>
                </a:lvl3pPr>
                <a:lvl4pPr marL="1598143" indent="-228306">
                  <a:spcBef>
                    <a:spcPct val="20000"/>
                  </a:spcBef>
                  <a:buClr>
                    <a:srgbClr val="9A410D"/>
                  </a:buClr>
                  <a:buFont typeface="Tahoma" pitchFamily="34" charset="0"/>
                  <a:buChar char="–"/>
                  <a:defRPr sz="1600">
                    <a:latin typeface="+mn-lt"/>
                  </a:defRPr>
                </a:lvl4pPr>
                <a:lvl5pPr marL="2054755" indent="-228306">
                  <a:spcBef>
                    <a:spcPct val="20000"/>
                  </a:spcBef>
                  <a:buClr>
                    <a:srgbClr val="9A410D"/>
                  </a:buClr>
                  <a:buFont typeface="Tahoma" pitchFamily="34" charset="0"/>
                  <a:buChar char="»"/>
                  <a:defRPr sz="1600">
                    <a:latin typeface="+mn-lt"/>
                  </a:defRPr>
                </a:lvl5pPr>
                <a:lvl6pPr marL="2511370" indent="-228306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9A410D"/>
                  </a:buClr>
                  <a:buFont typeface="Tahoma" pitchFamily="34" charset="0"/>
                  <a:buChar char="»"/>
                  <a:defRPr sz="1600">
                    <a:latin typeface="+mn-lt"/>
                  </a:defRPr>
                </a:lvl6pPr>
                <a:lvl7pPr marL="2967980" indent="-228306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9A410D"/>
                  </a:buClr>
                  <a:buFont typeface="Tahoma" pitchFamily="34" charset="0"/>
                  <a:buChar char="»"/>
                  <a:defRPr sz="1600">
                    <a:latin typeface="+mn-lt"/>
                  </a:defRPr>
                </a:lvl7pPr>
                <a:lvl8pPr marL="3424600" indent="-228306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9A410D"/>
                  </a:buClr>
                  <a:buFont typeface="Tahoma" pitchFamily="34" charset="0"/>
                  <a:buChar char="»"/>
                  <a:defRPr sz="1600">
                    <a:latin typeface="+mn-lt"/>
                  </a:defRPr>
                </a:lvl8pPr>
                <a:lvl9pPr marL="3881204" indent="-228306" fontAlgn="base">
                  <a:spcBef>
                    <a:spcPct val="20000"/>
                  </a:spcBef>
                  <a:spcAft>
                    <a:spcPct val="0"/>
                  </a:spcAft>
                  <a:buClr>
                    <a:srgbClr val="9A410D"/>
                  </a:buClr>
                  <a:buFont typeface="Tahoma" pitchFamily="34" charset="0"/>
                  <a:buChar char="»"/>
                  <a:defRPr sz="1600">
                    <a:latin typeface="+mn-lt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3000" dirty="0" smtClean="0">
                    <a:solidFill>
                      <a:schemeClr val="accent4"/>
                    </a:solidFill>
                    <a:latin typeface="Century Gothic" pitchFamily="34" charset="0"/>
                  </a:rPr>
                  <a:t>2.5m/22.1bn</a:t>
                </a:r>
                <a:endParaRPr lang="en-US" sz="3000" dirty="0">
                  <a:solidFill>
                    <a:schemeClr val="accent4"/>
                  </a:solidFill>
                  <a:latin typeface="Century Gothic" pitchFamily="34" charset="0"/>
                </a:endParaRPr>
              </a:p>
            </p:txBody>
          </p:sp>
        </p:grpSp>
      </p:grpSp>
      <p:pic>
        <p:nvPicPr>
          <p:cNvPr id="49" name="Picture 48"/>
          <p:cNvPicPr>
            <a:picLocks noChangeAspect="1"/>
          </p:cNvPicPr>
          <p:nvPr/>
        </p:nvPicPr>
        <p:blipFill>
          <a:blip r:embed="rId7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5946" y="1948759"/>
            <a:ext cx="605873" cy="482556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1423315" y="2642440"/>
            <a:ext cx="7027238" cy="0"/>
            <a:chOff x="745890" y="2835914"/>
            <a:chExt cx="7403672" cy="0"/>
          </a:xfrm>
        </p:grpSpPr>
        <p:cxnSp>
          <p:nvCxnSpPr>
            <p:cNvPr id="59" name="Straight Connector 58"/>
            <p:cNvCxnSpPr/>
            <p:nvPr/>
          </p:nvCxnSpPr>
          <p:spPr>
            <a:xfrm flipH="1">
              <a:off x="745890" y="2835914"/>
              <a:ext cx="3361290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 flipH="1">
              <a:off x="4788272" y="2835914"/>
              <a:ext cx="3361290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/>
          <p:cNvGrpSpPr/>
          <p:nvPr/>
        </p:nvGrpSpPr>
        <p:grpSpPr>
          <a:xfrm>
            <a:off x="1423315" y="3490744"/>
            <a:ext cx="7027238" cy="0"/>
            <a:chOff x="745890" y="3947534"/>
            <a:chExt cx="7403672" cy="0"/>
          </a:xfrm>
        </p:grpSpPr>
        <p:cxnSp>
          <p:nvCxnSpPr>
            <p:cNvPr id="61" name="Straight Connector 60"/>
            <p:cNvCxnSpPr/>
            <p:nvPr/>
          </p:nvCxnSpPr>
          <p:spPr>
            <a:xfrm flipH="1">
              <a:off x="745890" y="3947534"/>
              <a:ext cx="3361290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 flipH="1">
              <a:off x="4788272" y="3947534"/>
              <a:ext cx="3361290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/>
          <p:cNvGrpSpPr/>
          <p:nvPr/>
        </p:nvGrpSpPr>
        <p:grpSpPr>
          <a:xfrm>
            <a:off x="1423315" y="4342312"/>
            <a:ext cx="7027238" cy="0"/>
            <a:chOff x="745890" y="5063472"/>
            <a:chExt cx="7403672" cy="0"/>
          </a:xfrm>
        </p:grpSpPr>
        <p:cxnSp>
          <p:nvCxnSpPr>
            <p:cNvPr id="64" name="Straight Connector 63"/>
            <p:cNvCxnSpPr/>
            <p:nvPr/>
          </p:nvCxnSpPr>
          <p:spPr>
            <a:xfrm flipH="1">
              <a:off x="745890" y="5063472"/>
              <a:ext cx="3361290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 flipH="1">
              <a:off x="4788272" y="5063472"/>
              <a:ext cx="3361290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3"/>
          <p:cNvSpPr txBox="1"/>
          <p:nvPr/>
        </p:nvSpPr>
        <p:spPr>
          <a:xfrm>
            <a:off x="2367822" y="4725743"/>
            <a:ext cx="1426632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458" lvl="0" indent="-342458">
              <a:spcBef>
                <a:spcPct val="20000"/>
              </a:spcBef>
              <a:buClr>
                <a:srgbClr val="9A410D"/>
              </a:buClr>
              <a:buSzPct val="65000"/>
              <a:buFont typeface="Monotype Sorts" pitchFamily="2" charset="2"/>
              <a:buChar char="u"/>
              <a:defRPr sz="2000">
                <a:latin typeface="+mn-lt"/>
              </a:defRPr>
            </a:lvl1pPr>
            <a:lvl2pPr marL="741995" indent="-285382">
              <a:spcBef>
                <a:spcPct val="20000"/>
              </a:spcBef>
              <a:buClr>
                <a:srgbClr val="9A410D"/>
              </a:buClr>
              <a:buSzPct val="60000"/>
              <a:buFont typeface="Monotype Sorts" pitchFamily="2" charset="2"/>
              <a:buChar char="n"/>
              <a:defRPr sz="2000">
                <a:latin typeface="+mn-lt"/>
              </a:defRPr>
            </a:lvl2pPr>
            <a:lvl3pPr marL="1141530" indent="-228306">
              <a:spcBef>
                <a:spcPct val="20000"/>
              </a:spcBef>
              <a:buClr>
                <a:srgbClr val="9A410D"/>
              </a:buClr>
              <a:buChar char="•"/>
              <a:defRPr>
                <a:latin typeface="+mn-lt"/>
              </a:defRPr>
            </a:lvl3pPr>
            <a:lvl4pPr marL="1598143" indent="-228306">
              <a:spcBef>
                <a:spcPct val="20000"/>
              </a:spcBef>
              <a:buClr>
                <a:srgbClr val="9A410D"/>
              </a:buClr>
              <a:buFont typeface="Tahoma" pitchFamily="34" charset="0"/>
              <a:buChar char="–"/>
              <a:defRPr sz="1600">
                <a:latin typeface="+mn-lt"/>
              </a:defRPr>
            </a:lvl4pPr>
            <a:lvl5pPr marL="2054755" indent="-228306">
              <a:spcBef>
                <a:spcPct val="20000"/>
              </a:spcBef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5pPr>
            <a:lvl6pPr marL="251137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6pPr>
            <a:lvl7pPr marL="296798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7pPr>
            <a:lvl8pPr marL="342460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8pPr>
            <a:lvl9pPr marL="3881204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en-US" sz="1300" dirty="0">
                <a:solidFill>
                  <a:schemeClr val="accent6"/>
                </a:solidFill>
              </a:rPr>
              <a:t>Countries</a:t>
            </a:r>
          </a:p>
        </p:txBody>
      </p:sp>
      <p:sp>
        <p:nvSpPr>
          <p:cNvPr id="27" name="Rectangle 3"/>
          <p:cNvSpPr txBox="1"/>
          <p:nvPr/>
        </p:nvSpPr>
        <p:spPr>
          <a:xfrm>
            <a:off x="2480492" y="4316729"/>
            <a:ext cx="1132638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458" lvl="0" indent="-342458">
              <a:spcBef>
                <a:spcPct val="20000"/>
              </a:spcBef>
              <a:buClr>
                <a:srgbClr val="9A410D"/>
              </a:buClr>
              <a:buSzPct val="65000"/>
              <a:buFont typeface="Monotype Sorts" pitchFamily="2" charset="2"/>
              <a:buChar char="u"/>
              <a:defRPr sz="2000">
                <a:latin typeface="+mn-lt"/>
              </a:defRPr>
            </a:lvl1pPr>
            <a:lvl2pPr marL="741995" indent="-285382">
              <a:spcBef>
                <a:spcPct val="20000"/>
              </a:spcBef>
              <a:buClr>
                <a:srgbClr val="9A410D"/>
              </a:buClr>
              <a:buSzPct val="60000"/>
              <a:buFont typeface="Monotype Sorts" pitchFamily="2" charset="2"/>
              <a:buChar char="n"/>
              <a:defRPr sz="2000">
                <a:latin typeface="+mn-lt"/>
              </a:defRPr>
            </a:lvl2pPr>
            <a:lvl3pPr marL="1141530" indent="-228306">
              <a:spcBef>
                <a:spcPct val="20000"/>
              </a:spcBef>
              <a:buClr>
                <a:srgbClr val="9A410D"/>
              </a:buClr>
              <a:buChar char="•"/>
              <a:defRPr>
                <a:latin typeface="+mn-lt"/>
              </a:defRPr>
            </a:lvl3pPr>
            <a:lvl4pPr marL="1598143" indent="-228306">
              <a:spcBef>
                <a:spcPct val="20000"/>
              </a:spcBef>
              <a:buClr>
                <a:srgbClr val="9A410D"/>
              </a:buClr>
              <a:buFont typeface="Tahoma" pitchFamily="34" charset="0"/>
              <a:buChar char="–"/>
              <a:defRPr sz="1600">
                <a:latin typeface="+mn-lt"/>
              </a:defRPr>
            </a:lvl4pPr>
            <a:lvl5pPr marL="2054755" indent="-228306">
              <a:spcBef>
                <a:spcPct val="20000"/>
              </a:spcBef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5pPr>
            <a:lvl6pPr marL="251137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6pPr>
            <a:lvl7pPr marL="296798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7pPr>
            <a:lvl8pPr marL="342460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8pPr>
            <a:lvl9pPr marL="3881204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en-US" sz="3000" dirty="0" smtClean="0">
                <a:solidFill>
                  <a:schemeClr val="accent4"/>
                </a:solidFill>
                <a:latin typeface="Century Gothic" pitchFamily="34" charset="0"/>
              </a:rPr>
              <a:t>4</a:t>
            </a:r>
            <a:endParaRPr lang="en-US" sz="3000" dirty="0">
              <a:solidFill>
                <a:schemeClr val="accent4"/>
              </a:solidFill>
              <a:latin typeface="Century Gothic" pitchFamily="34" charset="0"/>
            </a:endParaRPr>
          </a:p>
        </p:txBody>
      </p:sp>
      <p:sp>
        <p:nvSpPr>
          <p:cNvPr id="32" name="Rectangle 3"/>
          <p:cNvSpPr txBox="1"/>
          <p:nvPr/>
        </p:nvSpPr>
        <p:spPr>
          <a:xfrm>
            <a:off x="6142042" y="4725742"/>
            <a:ext cx="1426632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458" lvl="0" indent="-342458">
              <a:spcBef>
                <a:spcPct val="20000"/>
              </a:spcBef>
              <a:buClr>
                <a:srgbClr val="9A410D"/>
              </a:buClr>
              <a:buSzPct val="65000"/>
              <a:buFont typeface="Monotype Sorts" pitchFamily="2" charset="2"/>
              <a:buChar char="u"/>
              <a:defRPr sz="2000">
                <a:latin typeface="+mn-lt"/>
              </a:defRPr>
            </a:lvl1pPr>
            <a:lvl2pPr marL="741995" indent="-285382">
              <a:spcBef>
                <a:spcPct val="20000"/>
              </a:spcBef>
              <a:buClr>
                <a:srgbClr val="9A410D"/>
              </a:buClr>
              <a:buSzPct val="60000"/>
              <a:buFont typeface="Monotype Sorts" pitchFamily="2" charset="2"/>
              <a:buChar char="n"/>
              <a:defRPr sz="2000">
                <a:latin typeface="+mn-lt"/>
              </a:defRPr>
            </a:lvl2pPr>
            <a:lvl3pPr marL="1141530" indent="-228306">
              <a:spcBef>
                <a:spcPct val="20000"/>
              </a:spcBef>
              <a:buClr>
                <a:srgbClr val="9A410D"/>
              </a:buClr>
              <a:buChar char="•"/>
              <a:defRPr>
                <a:latin typeface="+mn-lt"/>
              </a:defRPr>
            </a:lvl3pPr>
            <a:lvl4pPr marL="1598143" indent="-228306">
              <a:spcBef>
                <a:spcPct val="20000"/>
              </a:spcBef>
              <a:buClr>
                <a:srgbClr val="9A410D"/>
              </a:buClr>
              <a:buFont typeface="Tahoma" pitchFamily="34" charset="0"/>
              <a:buChar char="–"/>
              <a:defRPr sz="1600">
                <a:latin typeface="+mn-lt"/>
              </a:defRPr>
            </a:lvl4pPr>
            <a:lvl5pPr marL="2054755" indent="-228306">
              <a:spcBef>
                <a:spcPct val="20000"/>
              </a:spcBef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5pPr>
            <a:lvl6pPr marL="251137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6pPr>
            <a:lvl7pPr marL="296798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7pPr>
            <a:lvl8pPr marL="342460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8pPr>
            <a:lvl9pPr marL="3881204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en-US" sz="1300" dirty="0">
                <a:solidFill>
                  <a:schemeClr val="accent6"/>
                </a:solidFill>
              </a:rPr>
              <a:t>Countries</a:t>
            </a:r>
          </a:p>
        </p:txBody>
      </p:sp>
      <p:sp>
        <p:nvSpPr>
          <p:cNvPr id="33" name="Rectangle 3"/>
          <p:cNvSpPr txBox="1"/>
          <p:nvPr/>
        </p:nvSpPr>
        <p:spPr>
          <a:xfrm>
            <a:off x="6289039" y="4316730"/>
            <a:ext cx="1132638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458" lvl="0" indent="-342458">
              <a:spcBef>
                <a:spcPct val="20000"/>
              </a:spcBef>
              <a:buClr>
                <a:srgbClr val="9A410D"/>
              </a:buClr>
              <a:buSzPct val="65000"/>
              <a:buFont typeface="Monotype Sorts" pitchFamily="2" charset="2"/>
              <a:buChar char="u"/>
              <a:defRPr sz="2000">
                <a:latin typeface="+mn-lt"/>
              </a:defRPr>
            </a:lvl1pPr>
            <a:lvl2pPr marL="741995" indent="-285382">
              <a:spcBef>
                <a:spcPct val="20000"/>
              </a:spcBef>
              <a:buClr>
                <a:srgbClr val="9A410D"/>
              </a:buClr>
              <a:buSzPct val="60000"/>
              <a:buFont typeface="Monotype Sorts" pitchFamily="2" charset="2"/>
              <a:buChar char="n"/>
              <a:defRPr sz="2000">
                <a:latin typeface="+mn-lt"/>
              </a:defRPr>
            </a:lvl2pPr>
            <a:lvl3pPr marL="1141530" indent="-228306">
              <a:spcBef>
                <a:spcPct val="20000"/>
              </a:spcBef>
              <a:buClr>
                <a:srgbClr val="9A410D"/>
              </a:buClr>
              <a:buChar char="•"/>
              <a:defRPr>
                <a:latin typeface="+mn-lt"/>
              </a:defRPr>
            </a:lvl3pPr>
            <a:lvl4pPr marL="1598143" indent="-228306">
              <a:spcBef>
                <a:spcPct val="20000"/>
              </a:spcBef>
              <a:buClr>
                <a:srgbClr val="9A410D"/>
              </a:buClr>
              <a:buFont typeface="Tahoma" pitchFamily="34" charset="0"/>
              <a:buChar char="–"/>
              <a:defRPr sz="1600">
                <a:latin typeface="+mn-lt"/>
              </a:defRPr>
            </a:lvl4pPr>
            <a:lvl5pPr marL="2054755" indent="-228306">
              <a:spcBef>
                <a:spcPct val="20000"/>
              </a:spcBef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5pPr>
            <a:lvl6pPr marL="251137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6pPr>
            <a:lvl7pPr marL="296798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7pPr>
            <a:lvl8pPr marL="342460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8pPr>
            <a:lvl9pPr marL="3881204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en-US" sz="3000" dirty="0" smtClean="0">
                <a:solidFill>
                  <a:schemeClr val="accent4"/>
                </a:solidFill>
                <a:latin typeface="Century Gothic" pitchFamily="34" charset="0"/>
              </a:rPr>
              <a:t>4</a:t>
            </a:r>
            <a:endParaRPr lang="en-US" sz="3000" dirty="0">
              <a:solidFill>
                <a:schemeClr val="accent4"/>
              </a:solidFill>
              <a:latin typeface="Century Gothic" pitchFamily="34" charset="0"/>
            </a:endParaRPr>
          </a:p>
        </p:txBody>
      </p:sp>
      <p:pic>
        <p:nvPicPr>
          <p:cNvPr id="54311" name="Picture 39" descr="global, globe, internet icon"/>
          <p:cNvPicPr>
            <a:picLocks noChangeArrowheads="1"/>
          </p:cNvPicPr>
          <p:nvPr/>
        </p:nvPicPr>
        <p:blipFill>
          <a:blip r:embed="rId8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6001" y="4469640"/>
            <a:ext cx="422021" cy="33612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2261624" y="3526805"/>
            <a:ext cx="6033717" cy="607229"/>
            <a:chOff x="1629106" y="3989975"/>
            <a:chExt cx="6356931" cy="803247"/>
          </a:xfrm>
        </p:grpSpPr>
        <p:sp>
          <p:nvSpPr>
            <p:cNvPr id="3" name="Rectangle 3"/>
            <p:cNvSpPr txBox="1"/>
            <p:nvPr/>
          </p:nvSpPr>
          <p:spPr>
            <a:xfrm>
              <a:off x="1740994" y="4528584"/>
              <a:ext cx="1503054" cy="26463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endParaRPr lang="en-US" sz="1300" dirty="0">
                <a:solidFill>
                  <a:schemeClr val="accent6"/>
                </a:solidFill>
              </a:endParaRPr>
            </a:p>
          </p:txBody>
        </p:sp>
        <p:sp>
          <p:nvSpPr>
            <p:cNvPr id="5" name="Rectangle 3"/>
            <p:cNvSpPr txBox="1"/>
            <p:nvPr/>
          </p:nvSpPr>
          <p:spPr>
            <a:xfrm>
              <a:off x="1629106" y="3989975"/>
              <a:ext cx="1726830" cy="61069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endParaRPr lang="en-US" sz="3000" dirty="0">
                <a:solidFill>
                  <a:schemeClr val="accent4"/>
                </a:solidFill>
                <a:latin typeface="Century Gothic" pitchFamily="34" charset="0"/>
              </a:endParaRPr>
            </a:p>
          </p:txBody>
        </p:sp>
        <p:sp>
          <p:nvSpPr>
            <p:cNvPr id="56" name="Rectangle 3"/>
            <p:cNvSpPr txBox="1"/>
            <p:nvPr/>
          </p:nvSpPr>
          <p:spPr>
            <a:xfrm>
              <a:off x="5440972" y="4528588"/>
              <a:ext cx="2545065" cy="26463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1300" smtClean="0">
                  <a:solidFill>
                    <a:schemeClr val="accent6"/>
                  </a:solidFill>
                </a:rPr>
                <a:t>Cash Out – Count/Value - KSH</a:t>
              </a:r>
              <a:endParaRPr lang="en-US" sz="1300" dirty="0">
                <a:solidFill>
                  <a:schemeClr val="accent6"/>
                </a:solidFill>
              </a:endParaRPr>
            </a:p>
          </p:txBody>
        </p:sp>
        <p:sp>
          <p:nvSpPr>
            <p:cNvPr id="57" name="Rectangle 3"/>
            <p:cNvSpPr txBox="1"/>
            <p:nvPr/>
          </p:nvSpPr>
          <p:spPr>
            <a:xfrm>
              <a:off x="5605502" y="3989978"/>
              <a:ext cx="2299352" cy="61069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3000" smtClean="0">
                  <a:solidFill>
                    <a:schemeClr val="accent4"/>
                  </a:solidFill>
                  <a:latin typeface="Century Gothic" pitchFamily="34" charset="0"/>
                </a:rPr>
                <a:t>2.2m/9.8bn</a:t>
              </a:r>
              <a:endParaRPr lang="en-US" sz="3000" dirty="0">
                <a:solidFill>
                  <a:schemeClr val="accent4"/>
                </a:solidFill>
                <a:latin typeface="Century Gothic" pitchFamily="34" charset="0"/>
              </a:endParaRPr>
            </a:p>
          </p:txBody>
        </p:sp>
      </p:grpSp>
      <p:sp>
        <p:nvSpPr>
          <p:cNvPr id="41" name="Freeform 11"/>
          <p:cNvSpPr>
            <a:spLocks/>
          </p:cNvSpPr>
          <p:nvPr/>
        </p:nvSpPr>
        <p:spPr bwMode="auto">
          <a:xfrm>
            <a:off x="1543205" y="5297984"/>
            <a:ext cx="422022" cy="336123"/>
          </a:xfrm>
          <a:custGeom>
            <a:avLst/>
            <a:gdLst>
              <a:gd name="T0" fmla="*/ 0 w 288"/>
              <a:gd name="T1" fmla="*/ 125 h 125"/>
              <a:gd name="T2" fmla="*/ 102 w 288"/>
              <a:gd name="T3" fmla="*/ 66 h 125"/>
              <a:gd name="T4" fmla="*/ 174 w 288"/>
              <a:gd name="T5" fmla="*/ 66 h 125"/>
              <a:gd name="T6" fmla="*/ 288 w 288"/>
              <a:gd name="T7" fmla="*/ 0 h 125"/>
              <a:gd name="connsiteX0" fmla="*/ 0 w 10000"/>
              <a:gd name="connsiteY0" fmla="*/ 10000 h 10000"/>
              <a:gd name="connsiteX1" fmla="*/ 1076 w 10000"/>
              <a:gd name="connsiteY1" fmla="*/ 8479 h 10000"/>
              <a:gd name="connsiteX2" fmla="*/ 3542 w 10000"/>
              <a:gd name="connsiteY2" fmla="*/ 5280 h 10000"/>
              <a:gd name="connsiteX3" fmla="*/ 6042 w 10000"/>
              <a:gd name="connsiteY3" fmla="*/ 5280 h 10000"/>
              <a:gd name="connsiteX4" fmla="*/ 10000 w 10000"/>
              <a:gd name="connsiteY4" fmla="*/ 0 h 10000"/>
              <a:gd name="connsiteX0" fmla="*/ 0 w 8924"/>
              <a:gd name="connsiteY0" fmla="*/ 8479 h 8479"/>
              <a:gd name="connsiteX1" fmla="*/ 2466 w 8924"/>
              <a:gd name="connsiteY1" fmla="*/ 5280 h 8479"/>
              <a:gd name="connsiteX2" fmla="*/ 4966 w 8924"/>
              <a:gd name="connsiteY2" fmla="*/ 5280 h 8479"/>
              <a:gd name="connsiteX3" fmla="*/ 8924 w 8924"/>
              <a:gd name="connsiteY3" fmla="*/ 0 h 8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24" h="8479">
                <a:moveTo>
                  <a:pt x="0" y="8479"/>
                </a:moveTo>
                <a:lnTo>
                  <a:pt x="2466" y="5280"/>
                </a:lnTo>
                <a:lnTo>
                  <a:pt x="4966" y="5280"/>
                </a:lnTo>
                <a:lnTo>
                  <a:pt x="8924" y="0"/>
                </a:lnTo>
              </a:path>
            </a:pathLst>
          </a:custGeom>
          <a:solidFill>
            <a:schemeClr val="accent2">
              <a:lumMod val="75000"/>
            </a:schemeClr>
          </a:solidFill>
          <a:ln w="38100" cap="flat" cmpd="sng">
            <a:solidFill>
              <a:schemeClr val="accent4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wrap="none" lIns="97740" tIns="48870" rIns="97740" bIns="48870" anchor="ctr">
            <a:noAutofit/>
          </a:bodyPr>
          <a:lstStyle/>
          <a:p>
            <a:endParaRPr lang="en-US" sz="1300">
              <a:solidFill>
                <a:schemeClr val="tx2"/>
              </a:solidFill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2367824" y="5189037"/>
            <a:ext cx="5200851" cy="588071"/>
            <a:chOff x="2124268" y="5191013"/>
            <a:chExt cx="4608126" cy="654205"/>
          </a:xfrm>
        </p:grpSpPr>
        <p:sp>
          <p:nvSpPr>
            <p:cNvPr id="42" name="Rectangle 3"/>
            <p:cNvSpPr txBox="1"/>
            <p:nvPr/>
          </p:nvSpPr>
          <p:spPr>
            <a:xfrm>
              <a:off x="2124268" y="5622665"/>
              <a:ext cx="1264043" cy="22255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1300" dirty="0" smtClean="0">
                  <a:solidFill>
                    <a:schemeClr val="accent6"/>
                  </a:solidFill>
                </a:rPr>
                <a:t>pa</a:t>
              </a:r>
              <a:endParaRPr lang="en-US" sz="1300" dirty="0">
                <a:solidFill>
                  <a:schemeClr val="accent6"/>
                </a:solidFill>
              </a:endParaRPr>
            </a:p>
          </p:txBody>
        </p:sp>
        <p:sp>
          <p:nvSpPr>
            <p:cNvPr id="43" name="Rectangle 3"/>
            <p:cNvSpPr txBox="1"/>
            <p:nvPr/>
          </p:nvSpPr>
          <p:spPr>
            <a:xfrm>
              <a:off x="2254513" y="5191013"/>
              <a:ext cx="1003555" cy="51358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3000" dirty="0" smtClean="0">
                  <a:solidFill>
                    <a:schemeClr val="accent4"/>
                  </a:solidFill>
                  <a:latin typeface="Century Gothic" pitchFamily="34" charset="0"/>
                </a:rPr>
                <a:t>15%</a:t>
              </a:r>
              <a:endParaRPr lang="en-US" sz="3000" dirty="0">
                <a:solidFill>
                  <a:schemeClr val="accent4"/>
                </a:solidFill>
                <a:latin typeface="Century Gothic" pitchFamily="34" charset="0"/>
              </a:endParaRPr>
            </a:p>
          </p:txBody>
        </p:sp>
        <p:sp>
          <p:nvSpPr>
            <p:cNvPr id="46" name="Rectangle 3"/>
            <p:cNvSpPr txBox="1"/>
            <p:nvPr/>
          </p:nvSpPr>
          <p:spPr>
            <a:xfrm>
              <a:off x="5468351" y="5622665"/>
              <a:ext cx="1264043" cy="22255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1300" dirty="0" smtClean="0">
                  <a:solidFill>
                    <a:schemeClr val="accent6"/>
                  </a:solidFill>
                </a:rPr>
                <a:t>pa</a:t>
              </a:r>
              <a:endParaRPr lang="en-US" sz="1300" dirty="0">
                <a:solidFill>
                  <a:schemeClr val="accent6"/>
                </a:solidFill>
              </a:endParaRPr>
            </a:p>
          </p:txBody>
        </p:sp>
        <p:sp>
          <p:nvSpPr>
            <p:cNvPr id="47" name="Rectangle 3"/>
            <p:cNvSpPr txBox="1"/>
            <p:nvPr/>
          </p:nvSpPr>
          <p:spPr>
            <a:xfrm>
              <a:off x="5598595" y="5191013"/>
              <a:ext cx="1003555" cy="51358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458" lvl="0" indent="-342458">
                <a:spcBef>
                  <a:spcPct val="20000"/>
                </a:spcBef>
                <a:buClr>
                  <a:srgbClr val="9A410D"/>
                </a:buClr>
                <a:buSzPct val="65000"/>
                <a:buFont typeface="Monotype Sorts" pitchFamily="2" charset="2"/>
                <a:buChar char="u"/>
                <a:defRPr sz="2000">
                  <a:latin typeface="+mn-lt"/>
                </a:defRPr>
              </a:lvl1pPr>
              <a:lvl2pPr marL="741995" indent="-285382">
                <a:spcBef>
                  <a:spcPct val="20000"/>
                </a:spcBef>
                <a:buClr>
                  <a:srgbClr val="9A410D"/>
                </a:buClr>
                <a:buSzPct val="60000"/>
                <a:buFont typeface="Monotype Sorts" pitchFamily="2" charset="2"/>
                <a:buChar char="n"/>
                <a:defRPr sz="2000">
                  <a:latin typeface="+mn-lt"/>
                </a:defRPr>
              </a:lvl2pPr>
              <a:lvl3pPr marL="1141530" indent="-228306">
                <a:spcBef>
                  <a:spcPct val="20000"/>
                </a:spcBef>
                <a:buClr>
                  <a:srgbClr val="9A410D"/>
                </a:buClr>
                <a:buChar char="•"/>
                <a:defRPr>
                  <a:latin typeface="+mn-lt"/>
                </a:defRPr>
              </a:lvl3pPr>
              <a:lvl4pPr marL="1598143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–"/>
                <a:defRPr sz="1600">
                  <a:latin typeface="+mn-lt"/>
                </a:defRPr>
              </a:lvl4pPr>
              <a:lvl5pPr marL="2054755" indent="-228306">
                <a:spcBef>
                  <a:spcPct val="20000"/>
                </a:spcBef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5pPr>
              <a:lvl6pPr marL="251137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6pPr>
              <a:lvl7pPr marL="296798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7pPr>
              <a:lvl8pPr marL="3424600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8pPr>
              <a:lvl9pPr marL="3881204" indent="-228306" fontAlgn="base">
                <a:spcBef>
                  <a:spcPct val="20000"/>
                </a:spcBef>
                <a:spcAft>
                  <a:spcPct val="0"/>
                </a:spcAft>
                <a:buClr>
                  <a:srgbClr val="9A410D"/>
                </a:buClr>
                <a:buFont typeface="Tahoma" pitchFamily="34" charset="0"/>
                <a:buChar char="»"/>
                <a:defRPr sz="1600">
                  <a:latin typeface="+mn-lt"/>
                </a:defRPr>
              </a:lvl9pPr>
            </a:lstStyle>
            <a:p>
              <a:pPr marL="0" indent="0" algn="ctr">
                <a:buNone/>
              </a:pPr>
              <a:r>
                <a:rPr lang="en-US" sz="3000" dirty="0">
                  <a:solidFill>
                    <a:schemeClr val="accent4"/>
                  </a:solidFill>
                  <a:latin typeface="Century Gothic" pitchFamily="34" charset="0"/>
                </a:rPr>
                <a:t>32%</a:t>
              </a:r>
            </a:p>
          </p:txBody>
        </p:sp>
      </p:grpSp>
      <p:cxnSp>
        <p:nvCxnSpPr>
          <p:cNvPr id="52" name="Straight Connector 51"/>
          <p:cNvCxnSpPr/>
          <p:nvPr/>
        </p:nvCxnSpPr>
        <p:spPr>
          <a:xfrm flipH="1">
            <a:off x="1423315" y="4947942"/>
            <a:ext cx="3190387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 flipH="1">
            <a:off x="5260165" y="4988590"/>
            <a:ext cx="3190387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rchants &amp; Agents</a:t>
            </a:r>
            <a:endParaRPr lang="en-US" dirty="0"/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7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5314" y="1948759"/>
            <a:ext cx="605873" cy="48255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9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3205" y="2823463"/>
            <a:ext cx="587400" cy="587400"/>
          </a:xfrm>
          <a:prstGeom prst="rect">
            <a:avLst/>
          </a:prstGeom>
        </p:spPr>
      </p:pic>
      <p:pic>
        <p:nvPicPr>
          <p:cNvPr id="62" name="Picture 39" descr="global, globe, internet icon"/>
          <p:cNvPicPr>
            <a:picLocks noChangeArrowheads="1"/>
          </p:cNvPicPr>
          <p:nvPr/>
        </p:nvPicPr>
        <p:blipFill>
          <a:blip r:embed="rId8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9871" y="4489646"/>
            <a:ext cx="422021" cy="33612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050" y="2818691"/>
            <a:ext cx="493842" cy="49384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1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1499" y="3556424"/>
            <a:ext cx="732776" cy="732776"/>
          </a:xfrm>
          <a:prstGeom prst="rect">
            <a:avLst/>
          </a:prstGeom>
        </p:spPr>
      </p:pic>
      <p:sp>
        <p:nvSpPr>
          <p:cNvPr id="63" name="Freeform 11"/>
          <p:cNvSpPr>
            <a:spLocks/>
          </p:cNvSpPr>
          <p:nvPr/>
        </p:nvSpPr>
        <p:spPr bwMode="auto">
          <a:xfrm>
            <a:off x="5333960" y="5296771"/>
            <a:ext cx="422022" cy="336123"/>
          </a:xfrm>
          <a:custGeom>
            <a:avLst/>
            <a:gdLst>
              <a:gd name="T0" fmla="*/ 0 w 288"/>
              <a:gd name="T1" fmla="*/ 125 h 125"/>
              <a:gd name="T2" fmla="*/ 102 w 288"/>
              <a:gd name="T3" fmla="*/ 66 h 125"/>
              <a:gd name="T4" fmla="*/ 174 w 288"/>
              <a:gd name="T5" fmla="*/ 66 h 125"/>
              <a:gd name="T6" fmla="*/ 288 w 288"/>
              <a:gd name="T7" fmla="*/ 0 h 125"/>
              <a:gd name="connsiteX0" fmla="*/ 0 w 10000"/>
              <a:gd name="connsiteY0" fmla="*/ 10000 h 10000"/>
              <a:gd name="connsiteX1" fmla="*/ 1076 w 10000"/>
              <a:gd name="connsiteY1" fmla="*/ 8479 h 10000"/>
              <a:gd name="connsiteX2" fmla="*/ 3542 w 10000"/>
              <a:gd name="connsiteY2" fmla="*/ 5280 h 10000"/>
              <a:gd name="connsiteX3" fmla="*/ 6042 w 10000"/>
              <a:gd name="connsiteY3" fmla="*/ 5280 h 10000"/>
              <a:gd name="connsiteX4" fmla="*/ 10000 w 10000"/>
              <a:gd name="connsiteY4" fmla="*/ 0 h 10000"/>
              <a:gd name="connsiteX0" fmla="*/ 0 w 8924"/>
              <a:gd name="connsiteY0" fmla="*/ 8479 h 8479"/>
              <a:gd name="connsiteX1" fmla="*/ 2466 w 8924"/>
              <a:gd name="connsiteY1" fmla="*/ 5280 h 8479"/>
              <a:gd name="connsiteX2" fmla="*/ 4966 w 8924"/>
              <a:gd name="connsiteY2" fmla="*/ 5280 h 8479"/>
              <a:gd name="connsiteX3" fmla="*/ 8924 w 8924"/>
              <a:gd name="connsiteY3" fmla="*/ 0 h 8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24" h="8479">
                <a:moveTo>
                  <a:pt x="0" y="8479"/>
                </a:moveTo>
                <a:lnTo>
                  <a:pt x="2466" y="5280"/>
                </a:lnTo>
                <a:lnTo>
                  <a:pt x="4966" y="5280"/>
                </a:lnTo>
                <a:lnTo>
                  <a:pt x="8924" y="0"/>
                </a:lnTo>
              </a:path>
            </a:pathLst>
          </a:custGeom>
          <a:solidFill>
            <a:schemeClr val="accent2">
              <a:lumMod val="75000"/>
            </a:schemeClr>
          </a:solidFill>
          <a:ln w="38100" cap="flat" cmpd="sng">
            <a:solidFill>
              <a:schemeClr val="accent4"/>
            </a:solidFill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wrap="none" lIns="97740" tIns="48870" rIns="97740" bIns="48870" anchor="ctr">
            <a:noAutofit/>
          </a:bodyPr>
          <a:lstStyle/>
          <a:p>
            <a:endParaRPr lang="en-US" sz="1300">
              <a:solidFill>
                <a:schemeClr val="tx2"/>
              </a:solidFill>
            </a:endParaRPr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9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8652" y="3632924"/>
            <a:ext cx="587400" cy="587400"/>
          </a:xfrm>
          <a:prstGeom prst="rect">
            <a:avLst/>
          </a:prstGeom>
        </p:spPr>
      </p:pic>
      <p:sp>
        <p:nvSpPr>
          <p:cNvPr id="69" name="Rectangle 3"/>
          <p:cNvSpPr txBox="1"/>
          <p:nvPr/>
        </p:nvSpPr>
        <p:spPr>
          <a:xfrm>
            <a:off x="2519297" y="4027301"/>
            <a:ext cx="1608139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458" lvl="0" indent="-342458">
              <a:spcBef>
                <a:spcPct val="20000"/>
              </a:spcBef>
              <a:buClr>
                <a:srgbClr val="9A410D"/>
              </a:buClr>
              <a:buSzPct val="65000"/>
              <a:buFont typeface="Monotype Sorts" pitchFamily="2" charset="2"/>
              <a:buChar char="u"/>
              <a:defRPr sz="2000">
                <a:latin typeface="+mn-lt"/>
              </a:defRPr>
            </a:lvl1pPr>
            <a:lvl2pPr marL="741995" indent="-285382">
              <a:spcBef>
                <a:spcPct val="20000"/>
              </a:spcBef>
              <a:buClr>
                <a:srgbClr val="9A410D"/>
              </a:buClr>
              <a:buSzPct val="60000"/>
              <a:buFont typeface="Monotype Sorts" pitchFamily="2" charset="2"/>
              <a:buChar char="n"/>
              <a:defRPr sz="2000">
                <a:latin typeface="+mn-lt"/>
              </a:defRPr>
            </a:lvl2pPr>
            <a:lvl3pPr marL="1141530" indent="-228306">
              <a:spcBef>
                <a:spcPct val="20000"/>
              </a:spcBef>
              <a:buClr>
                <a:srgbClr val="9A410D"/>
              </a:buClr>
              <a:buChar char="•"/>
              <a:defRPr>
                <a:latin typeface="+mn-lt"/>
              </a:defRPr>
            </a:lvl3pPr>
            <a:lvl4pPr marL="1598143" indent="-228306">
              <a:spcBef>
                <a:spcPct val="20000"/>
              </a:spcBef>
              <a:buClr>
                <a:srgbClr val="9A410D"/>
              </a:buClr>
              <a:buFont typeface="Tahoma" pitchFamily="34" charset="0"/>
              <a:buChar char="–"/>
              <a:defRPr sz="1600">
                <a:latin typeface="+mn-lt"/>
              </a:defRPr>
            </a:lvl4pPr>
            <a:lvl5pPr marL="2054755" indent="-228306">
              <a:spcBef>
                <a:spcPct val="20000"/>
              </a:spcBef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5pPr>
            <a:lvl6pPr marL="251137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6pPr>
            <a:lvl7pPr marL="296798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7pPr>
            <a:lvl8pPr marL="342460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8pPr>
            <a:lvl9pPr marL="3881204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en-US" sz="1300" smtClean="0">
                <a:solidFill>
                  <a:schemeClr val="accent6"/>
                </a:solidFill>
              </a:rPr>
              <a:t>Transactions/Month</a:t>
            </a:r>
            <a:endParaRPr lang="en-US" sz="1300" dirty="0">
              <a:solidFill>
                <a:schemeClr val="accent6"/>
              </a:solidFill>
            </a:endParaRPr>
          </a:p>
        </p:txBody>
      </p:sp>
      <p:sp>
        <p:nvSpPr>
          <p:cNvPr id="70" name="Rectangle 3"/>
          <p:cNvSpPr txBox="1"/>
          <p:nvPr/>
        </p:nvSpPr>
        <p:spPr>
          <a:xfrm>
            <a:off x="2452609" y="3539394"/>
            <a:ext cx="1696392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458" lvl="0" indent="-342458">
              <a:spcBef>
                <a:spcPct val="20000"/>
              </a:spcBef>
              <a:buClr>
                <a:srgbClr val="9A410D"/>
              </a:buClr>
              <a:buSzPct val="65000"/>
              <a:buFont typeface="Monotype Sorts" pitchFamily="2" charset="2"/>
              <a:buChar char="u"/>
              <a:defRPr sz="2000">
                <a:latin typeface="+mn-lt"/>
              </a:defRPr>
            </a:lvl1pPr>
            <a:lvl2pPr marL="741995" indent="-285382">
              <a:spcBef>
                <a:spcPct val="20000"/>
              </a:spcBef>
              <a:buClr>
                <a:srgbClr val="9A410D"/>
              </a:buClr>
              <a:buSzPct val="60000"/>
              <a:buFont typeface="Monotype Sorts" pitchFamily="2" charset="2"/>
              <a:buChar char="n"/>
              <a:defRPr sz="2000">
                <a:latin typeface="+mn-lt"/>
              </a:defRPr>
            </a:lvl2pPr>
            <a:lvl3pPr marL="1141530" indent="-228306">
              <a:spcBef>
                <a:spcPct val="20000"/>
              </a:spcBef>
              <a:buClr>
                <a:srgbClr val="9A410D"/>
              </a:buClr>
              <a:buChar char="•"/>
              <a:defRPr>
                <a:latin typeface="+mn-lt"/>
              </a:defRPr>
            </a:lvl3pPr>
            <a:lvl4pPr marL="1598143" indent="-228306">
              <a:spcBef>
                <a:spcPct val="20000"/>
              </a:spcBef>
              <a:buClr>
                <a:srgbClr val="9A410D"/>
              </a:buClr>
              <a:buFont typeface="Tahoma" pitchFamily="34" charset="0"/>
              <a:buChar char="–"/>
              <a:defRPr sz="1600">
                <a:latin typeface="+mn-lt"/>
              </a:defRPr>
            </a:lvl4pPr>
            <a:lvl5pPr marL="2054755" indent="-228306">
              <a:spcBef>
                <a:spcPct val="20000"/>
              </a:spcBef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5pPr>
            <a:lvl6pPr marL="251137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6pPr>
            <a:lvl7pPr marL="296798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7pPr>
            <a:lvl8pPr marL="3424600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8pPr>
            <a:lvl9pPr marL="3881204" indent="-228306" fontAlgn="base">
              <a:spcBef>
                <a:spcPct val="20000"/>
              </a:spcBef>
              <a:spcAft>
                <a:spcPct val="0"/>
              </a:spcAft>
              <a:buClr>
                <a:srgbClr val="9A410D"/>
              </a:buClr>
              <a:buFont typeface="Tahoma" pitchFamily="34" charset="0"/>
              <a:buChar char="»"/>
              <a:defRPr sz="1600"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en-US" sz="3000" smtClean="0">
                <a:solidFill>
                  <a:schemeClr val="accent4"/>
                </a:solidFill>
                <a:latin typeface="Century Gothic" pitchFamily="34" charset="0"/>
              </a:rPr>
              <a:t>~700,000</a:t>
            </a:r>
            <a:endParaRPr lang="en-US" sz="3000" dirty="0">
              <a:solidFill>
                <a:schemeClr val="accent4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218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h is Still King!</a:t>
            </a:r>
            <a:endParaRPr lang="en-US" dirty="0"/>
          </a:p>
        </p:txBody>
      </p:sp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1534697015"/>
              </p:ext>
            </p:extLst>
          </p:nvPr>
        </p:nvGraphicFramePr>
        <p:xfrm>
          <a:off x="1651000" y="1050324"/>
          <a:ext cx="6604000" cy="4580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9982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d Payments Declin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478902" y="1718278"/>
            <a:ext cx="5689600" cy="34798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571088" y="4736413"/>
            <a:ext cx="237757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-18.5%</a:t>
            </a:r>
            <a:endParaRPr lang="en-US" sz="5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14682" y="963827"/>
            <a:ext cx="1793274" cy="179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401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hallenge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860362"/>
            <a:ext cx="9906000" cy="2020929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  <a:lumOff val="50000"/>
                </a:schemeClr>
              </a:gs>
              <a:gs pos="100000">
                <a:schemeClr val="tx2">
                  <a:lumMod val="10000"/>
                  <a:lumOff val="9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grpSp>
        <p:nvGrpSpPr>
          <p:cNvPr id="5" name="Groupe 37"/>
          <p:cNvGrpSpPr/>
          <p:nvPr/>
        </p:nvGrpSpPr>
        <p:grpSpPr>
          <a:xfrm>
            <a:off x="0" y="2861662"/>
            <a:ext cx="9906000" cy="3536625"/>
            <a:chOff x="563488" y="2861662"/>
            <a:chExt cx="7122411" cy="3996337"/>
          </a:xfrm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563488" y="2861662"/>
              <a:ext cx="7122411" cy="240468"/>
            </a:xfrm>
            <a:custGeom>
              <a:avLst/>
              <a:gdLst>
                <a:gd name="T0" fmla="*/ 25292 w 26124"/>
                <a:gd name="T1" fmla="*/ 114 h 884"/>
                <a:gd name="T2" fmla="*/ 24826 w 26124"/>
                <a:gd name="T3" fmla="*/ 67 h 884"/>
                <a:gd name="T4" fmla="*/ 24459 w 26124"/>
                <a:gd name="T5" fmla="*/ 97 h 884"/>
                <a:gd name="T6" fmla="*/ 23979 w 26124"/>
                <a:gd name="T7" fmla="*/ 97 h 884"/>
                <a:gd name="T8" fmla="*/ 23612 w 26124"/>
                <a:gd name="T9" fmla="*/ 67 h 884"/>
                <a:gd name="T10" fmla="*/ 23146 w 26124"/>
                <a:gd name="T11" fmla="*/ 114 h 884"/>
                <a:gd name="T12" fmla="*/ 22747 w 26124"/>
                <a:gd name="T13" fmla="*/ 27 h 884"/>
                <a:gd name="T14" fmla="*/ 22287 w 26124"/>
                <a:gd name="T15" fmla="*/ 118 h 884"/>
                <a:gd name="T16" fmla="*/ 21849 w 26124"/>
                <a:gd name="T17" fmla="*/ 38 h 884"/>
                <a:gd name="T18" fmla="*/ 21461 w 26124"/>
                <a:gd name="T19" fmla="*/ 112 h 884"/>
                <a:gd name="T20" fmla="*/ 20990 w 26124"/>
                <a:gd name="T21" fmla="*/ 76 h 884"/>
                <a:gd name="T22" fmla="*/ 20626 w 26124"/>
                <a:gd name="T23" fmla="*/ 90 h 884"/>
                <a:gd name="T24" fmla="*/ 20149 w 26124"/>
                <a:gd name="T25" fmla="*/ 103 h 884"/>
                <a:gd name="T26" fmla="*/ 19855 w 26124"/>
                <a:gd name="T27" fmla="*/ 5 h 884"/>
                <a:gd name="T28" fmla="*/ 19476 w 26124"/>
                <a:gd name="T29" fmla="*/ 114 h 884"/>
                <a:gd name="T30" fmla="*/ 19009 w 26124"/>
                <a:gd name="T31" fmla="*/ 67 h 884"/>
                <a:gd name="T32" fmla="*/ 18642 w 26124"/>
                <a:gd name="T33" fmla="*/ 97 h 884"/>
                <a:gd name="T34" fmla="*/ 18162 w 26124"/>
                <a:gd name="T35" fmla="*/ 97 h 884"/>
                <a:gd name="T36" fmla="*/ 17795 w 26124"/>
                <a:gd name="T37" fmla="*/ 67 h 884"/>
                <a:gd name="T38" fmla="*/ 17329 w 26124"/>
                <a:gd name="T39" fmla="*/ 114 h 884"/>
                <a:gd name="T40" fmla="*/ 16930 w 26124"/>
                <a:gd name="T41" fmla="*/ 27 h 884"/>
                <a:gd name="T42" fmla="*/ 16469 w 26124"/>
                <a:gd name="T43" fmla="*/ 118 h 884"/>
                <a:gd name="T44" fmla="*/ 16032 w 26124"/>
                <a:gd name="T45" fmla="*/ 38 h 884"/>
                <a:gd name="T46" fmla="*/ 15644 w 26124"/>
                <a:gd name="T47" fmla="*/ 112 h 884"/>
                <a:gd name="T48" fmla="*/ 15172 w 26124"/>
                <a:gd name="T49" fmla="*/ 76 h 884"/>
                <a:gd name="T50" fmla="*/ 14808 w 26124"/>
                <a:gd name="T51" fmla="*/ 90 h 884"/>
                <a:gd name="T52" fmla="*/ 14328 w 26124"/>
                <a:gd name="T53" fmla="*/ 102 h 884"/>
                <a:gd name="T54" fmla="*/ 13957 w 26124"/>
                <a:gd name="T55" fmla="*/ 57 h 884"/>
                <a:gd name="T56" fmla="*/ 13495 w 26124"/>
                <a:gd name="T57" fmla="*/ 116 h 884"/>
                <a:gd name="T58" fmla="*/ 13071 w 26124"/>
                <a:gd name="T59" fmla="*/ 0 h 884"/>
                <a:gd name="T60" fmla="*/ 12639 w 26124"/>
                <a:gd name="T61" fmla="*/ 116 h 884"/>
                <a:gd name="T62" fmla="*/ 12177 w 26124"/>
                <a:gd name="T63" fmla="*/ 57 h 884"/>
                <a:gd name="T64" fmla="*/ 11804 w 26124"/>
                <a:gd name="T65" fmla="*/ 102 h 884"/>
                <a:gd name="T66" fmla="*/ 11325 w 26124"/>
                <a:gd name="T67" fmla="*/ 90 h 884"/>
                <a:gd name="T68" fmla="*/ 10961 w 26124"/>
                <a:gd name="T69" fmla="*/ 76 h 884"/>
                <a:gd name="T70" fmla="*/ 10489 w 26124"/>
                <a:gd name="T71" fmla="*/ 112 h 884"/>
                <a:gd name="T72" fmla="*/ 10101 w 26124"/>
                <a:gd name="T73" fmla="*/ 38 h 884"/>
                <a:gd name="T74" fmla="*/ 9664 w 26124"/>
                <a:gd name="T75" fmla="*/ 118 h 884"/>
                <a:gd name="T76" fmla="*/ 9203 w 26124"/>
                <a:gd name="T77" fmla="*/ 27 h 884"/>
                <a:gd name="T78" fmla="*/ 8805 w 26124"/>
                <a:gd name="T79" fmla="*/ 114 h 884"/>
                <a:gd name="T80" fmla="*/ 8339 w 26124"/>
                <a:gd name="T81" fmla="*/ 67 h 884"/>
                <a:gd name="T82" fmla="*/ 7972 w 26124"/>
                <a:gd name="T83" fmla="*/ 97 h 884"/>
                <a:gd name="T84" fmla="*/ 7492 w 26124"/>
                <a:gd name="T85" fmla="*/ 97 h 884"/>
                <a:gd name="T86" fmla="*/ 7125 w 26124"/>
                <a:gd name="T87" fmla="*/ 67 h 884"/>
                <a:gd name="T88" fmla="*/ 6660 w 26124"/>
                <a:gd name="T89" fmla="*/ 115 h 884"/>
                <a:gd name="T90" fmla="*/ 6288 w 26124"/>
                <a:gd name="T91" fmla="*/ 0 h 884"/>
                <a:gd name="T92" fmla="*/ 5989 w 26124"/>
                <a:gd name="T93" fmla="*/ 102 h 884"/>
                <a:gd name="T94" fmla="*/ 5508 w 26124"/>
                <a:gd name="T95" fmla="*/ 90 h 884"/>
                <a:gd name="T96" fmla="*/ 5143 w 26124"/>
                <a:gd name="T97" fmla="*/ 76 h 884"/>
                <a:gd name="T98" fmla="*/ 4672 w 26124"/>
                <a:gd name="T99" fmla="*/ 112 h 884"/>
                <a:gd name="T100" fmla="*/ 4284 w 26124"/>
                <a:gd name="T101" fmla="*/ 38 h 884"/>
                <a:gd name="T102" fmla="*/ 3846 w 26124"/>
                <a:gd name="T103" fmla="*/ 118 h 884"/>
                <a:gd name="T104" fmla="*/ 3386 w 26124"/>
                <a:gd name="T105" fmla="*/ 27 h 884"/>
                <a:gd name="T106" fmla="*/ 2987 w 26124"/>
                <a:gd name="T107" fmla="*/ 114 h 884"/>
                <a:gd name="T108" fmla="*/ 2521 w 26124"/>
                <a:gd name="T109" fmla="*/ 67 h 884"/>
                <a:gd name="T110" fmla="*/ 2154 w 26124"/>
                <a:gd name="T111" fmla="*/ 97 h 884"/>
                <a:gd name="T112" fmla="*/ 1674 w 26124"/>
                <a:gd name="T113" fmla="*/ 97 h 884"/>
                <a:gd name="T114" fmla="*/ 1308 w 26124"/>
                <a:gd name="T115" fmla="*/ 67 h 884"/>
                <a:gd name="T116" fmla="*/ 841 w 26124"/>
                <a:gd name="T117" fmla="*/ 114 h 884"/>
                <a:gd name="T118" fmla="*/ 443 w 26124"/>
                <a:gd name="T119" fmla="*/ 26 h 884"/>
                <a:gd name="T120" fmla="*/ 0 w 26124"/>
                <a:gd name="T121" fmla="*/ 118 h 884"/>
                <a:gd name="T122" fmla="*/ 25958 w 26124"/>
                <a:gd name="T123" fmla="*/ 104 h 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124" h="884">
                  <a:moveTo>
                    <a:pt x="25668" y="15"/>
                  </a:moveTo>
                  <a:lnTo>
                    <a:pt x="25668" y="15"/>
                  </a:lnTo>
                  <a:lnTo>
                    <a:pt x="25646" y="27"/>
                  </a:lnTo>
                  <a:lnTo>
                    <a:pt x="25622" y="38"/>
                  </a:lnTo>
                  <a:lnTo>
                    <a:pt x="25597" y="48"/>
                  </a:lnTo>
                  <a:lnTo>
                    <a:pt x="25571" y="57"/>
                  </a:lnTo>
                  <a:lnTo>
                    <a:pt x="25545" y="67"/>
                  </a:lnTo>
                  <a:lnTo>
                    <a:pt x="25516" y="76"/>
                  </a:lnTo>
                  <a:lnTo>
                    <a:pt x="25487" y="83"/>
                  </a:lnTo>
                  <a:lnTo>
                    <a:pt x="25456" y="90"/>
                  </a:lnTo>
                  <a:lnTo>
                    <a:pt x="25425" y="97"/>
                  </a:lnTo>
                  <a:lnTo>
                    <a:pt x="25393" y="102"/>
                  </a:lnTo>
                  <a:lnTo>
                    <a:pt x="25360" y="107"/>
                  </a:lnTo>
                  <a:lnTo>
                    <a:pt x="25326" y="112"/>
                  </a:lnTo>
                  <a:lnTo>
                    <a:pt x="25292" y="114"/>
                  </a:lnTo>
                  <a:lnTo>
                    <a:pt x="25257" y="117"/>
                  </a:lnTo>
                  <a:lnTo>
                    <a:pt x="25221" y="118"/>
                  </a:lnTo>
                  <a:lnTo>
                    <a:pt x="25185" y="118"/>
                  </a:lnTo>
                  <a:lnTo>
                    <a:pt x="25185" y="118"/>
                  </a:lnTo>
                  <a:lnTo>
                    <a:pt x="25148" y="118"/>
                  </a:lnTo>
                  <a:lnTo>
                    <a:pt x="25113" y="117"/>
                  </a:lnTo>
                  <a:lnTo>
                    <a:pt x="25079" y="114"/>
                  </a:lnTo>
                  <a:lnTo>
                    <a:pt x="25044" y="112"/>
                  </a:lnTo>
                  <a:lnTo>
                    <a:pt x="25010" y="107"/>
                  </a:lnTo>
                  <a:lnTo>
                    <a:pt x="24977" y="102"/>
                  </a:lnTo>
                  <a:lnTo>
                    <a:pt x="24945" y="97"/>
                  </a:lnTo>
                  <a:lnTo>
                    <a:pt x="24914" y="90"/>
                  </a:lnTo>
                  <a:lnTo>
                    <a:pt x="24884" y="83"/>
                  </a:lnTo>
                  <a:lnTo>
                    <a:pt x="24854" y="76"/>
                  </a:lnTo>
                  <a:lnTo>
                    <a:pt x="24826" y="67"/>
                  </a:lnTo>
                  <a:lnTo>
                    <a:pt x="24799" y="57"/>
                  </a:lnTo>
                  <a:lnTo>
                    <a:pt x="24773" y="48"/>
                  </a:lnTo>
                  <a:lnTo>
                    <a:pt x="24748" y="38"/>
                  </a:lnTo>
                  <a:lnTo>
                    <a:pt x="24725" y="27"/>
                  </a:lnTo>
                  <a:lnTo>
                    <a:pt x="24702" y="15"/>
                  </a:lnTo>
                  <a:lnTo>
                    <a:pt x="24702" y="15"/>
                  </a:lnTo>
                  <a:lnTo>
                    <a:pt x="24680" y="27"/>
                  </a:lnTo>
                  <a:lnTo>
                    <a:pt x="24656" y="38"/>
                  </a:lnTo>
                  <a:lnTo>
                    <a:pt x="24631" y="48"/>
                  </a:lnTo>
                  <a:lnTo>
                    <a:pt x="24605" y="57"/>
                  </a:lnTo>
                  <a:lnTo>
                    <a:pt x="24578" y="67"/>
                  </a:lnTo>
                  <a:lnTo>
                    <a:pt x="24549" y="76"/>
                  </a:lnTo>
                  <a:lnTo>
                    <a:pt x="24520" y="83"/>
                  </a:lnTo>
                  <a:lnTo>
                    <a:pt x="24491" y="90"/>
                  </a:lnTo>
                  <a:lnTo>
                    <a:pt x="24459" y="97"/>
                  </a:lnTo>
                  <a:lnTo>
                    <a:pt x="24426" y="102"/>
                  </a:lnTo>
                  <a:lnTo>
                    <a:pt x="24394" y="107"/>
                  </a:lnTo>
                  <a:lnTo>
                    <a:pt x="24360" y="112"/>
                  </a:lnTo>
                  <a:lnTo>
                    <a:pt x="24326" y="114"/>
                  </a:lnTo>
                  <a:lnTo>
                    <a:pt x="24290" y="117"/>
                  </a:lnTo>
                  <a:lnTo>
                    <a:pt x="24255" y="118"/>
                  </a:lnTo>
                  <a:lnTo>
                    <a:pt x="24218" y="118"/>
                  </a:lnTo>
                  <a:lnTo>
                    <a:pt x="24218" y="118"/>
                  </a:lnTo>
                  <a:lnTo>
                    <a:pt x="24182" y="118"/>
                  </a:lnTo>
                  <a:lnTo>
                    <a:pt x="24146" y="117"/>
                  </a:lnTo>
                  <a:lnTo>
                    <a:pt x="24112" y="114"/>
                  </a:lnTo>
                  <a:lnTo>
                    <a:pt x="24078" y="112"/>
                  </a:lnTo>
                  <a:lnTo>
                    <a:pt x="24044" y="107"/>
                  </a:lnTo>
                  <a:lnTo>
                    <a:pt x="24010" y="102"/>
                  </a:lnTo>
                  <a:lnTo>
                    <a:pt x="23979" y="97"/>
                  </a:lnTo>
                  <a:lnTo>
                    <a:pt x="23947" y="90"/>
                  </a:lnTo>
                  <a:lnTo>
                    <a:pt x="23917" y="83"/>
                  </a:lnTo>
                  <a:lnTo>
                    <a:pt x="23888" y="76"/>
                  </a:lnTo>
                  <a:lnTo>
                    <a:pt x="23860" y="67"/>
                  </a:lnTo>
                  <a:lnTo>
                    <a:pt x="23833" y="57"/>
                  </a:lnTo>
                  <a:lnTo>
                    <a:pt x="23807" y="48"/>
                  </a:lnTo>
                  <a:lnTo>
                    <a:pt x="23782" y="38"/>
                  </a:lnTo>
                  <a:lnTo>
                    <a:pt x="23758" y="27"/>
                  </a:lnTo>
                  <a:lnTo>
                    <a:pt x="23736" y="15"/>
                  </a:lnTo>
                  <a:lnTo>
                    <a:pt x="23736" y="15"/>
                  </a:lnTo>
                  <a:lnTo>
                    <a:pt x="23713" y="27"/>
                  </a:lnTo>
                  <a:lnTo>
                    <a:pt x="23690" y="38"/>
                  </a:lnTo>
                  <a:lnTo>
                    <a:pt x="23665" y="48"/>
                  </a:lnTo>
                  <a:lnTo>
                    <a:pt x="23639" y="57"/>
                  </a:lnTo>
                  <a:lnTo>
                    <a:pt x="23612" y="67"/>
                  </a:lnTo>
                  <a:lnTo>
                    <a:pt x="23583" y="76"/>
                  </a:lnTo>
                  <a:lnTo>
                    <a:pt x="23554" y="83"/>
                  </a:lnTo>
                  <a:lnTo>
                    <a:pt x="23524" y="90"/>
                  </a:lnTo>
                  <a:lnTo>
                    <a:pt x="23493" y="97"/>
                  </a:lnTo>
                  <a:lnTo>
                    <a:pt x="23460" y="102"/>
                  </a:lnTo>
                  <a:lnTo>
                    <a:pt x="23428" y="107"/>
                  </a:lnTo>
                  <a:lnTo>
                    <a:pt x="23394" y="112"/>
                  </a:lnTo>
                  <a:lnTo>
                    <a:pt x="23359" y="114"/>
                  </a:lnTo>
                  <a:lnTo>
                    <a:pt x="23324" y="117"/>
                  </a:lnTo>
                  <a:lnTo>
                    <a:pt x="23288" y="118"/>
                  </a:lnTo>
                  <a:lnTo>
                    <a:pt x="23252" y="118"/>
                  </a:lnTo>
                  <a:lnTo>
                    <a:pt x="23252" y="118"/>
                  </a:lnTo>
                  <a:lnTo>
                    <a:pt x="23216" y="118"/>
                  </a:lnTo>
                  <a:lnTo>
                    <a:pt x="23181" y="117"/>
                  </a:lnTo>
                  <a:lnTo>
                    <a:pt x="23146" y="114"/>
                  </a:lnTo>
                  <a:lnTo>
                    <a:pt x="23111" y="112"/>
                  </a:lnTo>
                  <a:lnTo>
                    <a:pt x="23078" y="107"/>
                  </a:lnTo>
                  <a:lnTo>
                    <a:pt x="23044" y="102"/>
                  </a:lnTo>
                  <a:lnTo>
                    <a:pt x="23013" y="97"/>
                  </a:lnTo>
                  <a:lnTo>
                    <a:pt x="22981" y="90"/>
                  </a:lnTo>
                  <a:lnTo>
                    <a:pt x="22951" y="83"/>
                  </a:lnTo>
                  <a:lnTo>
                    <a:pt x="22921" y="76"/>
                  </a:lnTo>
                  <a:lnTo>
                    <a:pt x="22893" y="67"/>
                  </a:lnTo>
                  <a:lnTo>
                    <a:pt x="22866" y="57"/>
                  </a:lnTo>
                  <a:lnTo>
                    <a:pt x="22840" y="48"/>
                  </a:lnTo>
                  <a:lnTo>
                    <a:pt x="22816" y="38"/>
                  </a:lnTo>
                  <a:lnTo>
                    <a:pt x="22792" y="27"/>
                  </a:lnTo>
                  <a:lnTo>
                    <a:pt x="22770" y="15"/>
                  </a:lnTo>
                  <a:lnTo>
                    <a:pt x="22770" y="15"/>
                  </a:lnTo>
                  <a:lnTo>
                    <a:pt x="22747" y="27"/>
                  </a:lnTo>
                  <a:lnTo>
                    <a:pt x="22724" y="38"/>
                  </a:lnTo>
                  <a:lnTo>
                    <a:pt x="22699" y="48"/>
                  </a:lnTo>
                  <a:lnTo>
                    <a:pt x="22673" y="57"/>
                  </a:lnTo>
                  <a:lnTo>
                    <a:pt x="22646" y="67"/>
                  </a:lnTo>
                  <a:lnTo>
                    <a:pt x="22618" y="76"/>
                  </a:lnTo>
                  <a:lnTo>
                    <a:pt x="22588" y="83"/>
                  </a:lnTo>
                  <a:lnTo>
                    <a:pt x="22558" y="90"/>
                  </a:lnTo>
                  <a:lnTo>
                    <a:pt x="22526" y="97"/>
                  </a:lnTo>
                  <a:lnTo>
                    <a:pt x="22495" y="102"/>
                  </a:lnTo>
                  <a:lnTo>
                    <a:pt x="22462" y="107"/>
                  </a:lnTo>
                  <a:lnTo>
                    <a:pt x="22428" y="112"/>
                  </a:lnTo>
                  <a:lnTo>
                    <a:pt x="22393" y="114"/>
                  </a:lnTo>
                  <a:lnTo>
                    <a:pt x="22358" y="117"/>
                  </a:lnTo>
                  <a:lnTo>
                    <a:pt x="22322" y="118"/>
                  </a:lnTo>
                  <a:lnTo>
                    <a:pt x="22287" y="118"/>
                  </a:lnTo>
                  <a:lnTo>
                    <a:pt x="22287" y="118"/>
                  </a:lnTo>
                  <a:lnTo>
                    <a:pt x="22251" y="118"/>
                  </a:lnTo>
                  <a:lnTo>
                    <a:pt x="22215" y="117"/>
                  </a:lnTo>
                  <a:lnTo>
                    <a:pt x="22180" y="114"/>
                  </a:lnTo>
                  <a:lnTo>
                    <a:pt x="22145" y="112"/>
                  </a:lnTo>
                  <a:lnTo>
                    <a:pt x="22111" y="107"/>
                  </a:lnTo>
                  <a:lnTo>
                    <a:pt x="22079" y="102"/>
                  </a:lnTo>
                  <a:lnTo>
                    <a:pt x="22047" y="97"/>
                  </a:lnTo>
                  <a:lnTo>
                    <a:pt x="22015" y="90"/>
                  </a:lnTo>
                  <a:lnTo>
                    <a:pt x="21985" y="83"/>
                  </a:lnTo>
                  <a:lnTo>
                    <a:pt x="21955" y="76"/>
                  </a:lnTo>
                  <a:lnTo>
                    <a:pt x="21927" y="67"/>
                  </a:lnTo>
                  <a:lnTo>
                    <a:pt x="21900" y="57"/>
                  </a:lnTo>
                  <a:lnTo>
                    <a:pt x="21874" y="48"/>
                  </a:lnTo>
                  <a:lnTo>
                    <a:pt x="21849" y="38"/>
                  </a:lnTo>
                  <a:lnTo>
                    <a:pt x="21826" y="27"/>
                  </a:lnTo>
                  <a:lnTo>
                    <a:pt x="21803" y="15"/>
                  </a:lnTo>
                  <a:lnTo>
                    <a:pt x="21803" y="15"/>
                  </a:lnTo>
                  <a:lnTo>
                    <a:pt x="21781" y="27"/>
                  </a:lnTo>
                  <a:lnTo>
                    <a:pt x="21757" y="38"/>
                  </a:lnTo>
                  <a:lnTo>
                    <a:pt x="21732" y="48"/>
                  </a:lnTo>
                  <a:lnTo>
                    <a:pt x="21707" y="57"/>
                  </a:lnTo>
                  <a:lnTo>
                    <a:pt x="21680" y="67"/>
                  </a:lnTo>
                  <a:lnTo>
                    <a:pt x="21652" y="76"/>
                  </a:lnTo>
                  <a:lnTo>
                    <a:pt x="21622" y="83"/>
                  </a:lnTo>
                  <a:lnTo>
                    <a:pt x="21592" y="90"/>
                  </a:lnTo>
                  <a:lnTo>
                    <a:pt x="21560" y="97"/>
                  </a:lnTo>
                  <a:lnTo>
                    <a:pt x="21529" y="102"/>
                  </a:lnTo>
                  <a:lnTo>
                    <a:pt x="21495" y="107"/>
                  </a:lnTo>
                  <a:lnTo>
                    <a:pt x="21461" y="112"/>
                  </a:lnTo>
                  <a:lnTo>
                    <a:pt x="21427" y="114"/>
                  </a:lnTo>
                  <a:lnTo>
                    <a:pt x="21392" y="117"/>
                  </a:lnTo>
                  <a:lnTo>
                    <a:pt x="21357" y="118"/>
                  </a:lnTo>
                  <a:lnTo>
                    <a:pt x="21321" y="118"/>
                  </a:lnTo>
                  <a:lnTo>
                    <a:pt x="21321" y="118"/>
                  </a:lnTo>
                  <a:lnTo>
                    <a:pt x="21285" y="118"/>
                  </a:lnTo>
                  <a:lnTo>
                    <a:pt x="21249" y="117"/>
                  </a:lnTo>
                  <a:lnTo>
                    <a:pt x="21214" y="114"/>
                  </a:lnTo>
                  <a:lnTo>
                    <a:pt x="21179" y="112"/>
                  </a:lnTo>
                  <a:lnTo>
                    <a:pt x="21145" y="107"/>
                  </a:lnTo>
                  <a:lnTo>
                    <a:pt x="21113" y="102"/>
                  </a:lnTo>
                  <a:lnTo>
                    <a:pt x="21080" y="97"/>
                  </a:lnTo>
                  <a:lnTo>
                    <a:pt x="21049" y="90"/>
                  </a:lnTo>
                  <a:lnTo>
                    <a:pt x="21019" y="83"/>
                  </a:lnTo>
                  <a:lnTo>
                    <a:pt x="20990" y="76"/>
                  </a:lnTo>
                  <a:lnTo>
                    <a:pt x="20961" y="67"/>
                  </a:lnTo>
                  <a:lnTo>
                    <a:pt x="20934" y="57"/>
                  </a:lnTo>
                  <a:lnTo>
                    <a:pt x="20908" y="48"/>
                  </a:lnTo>
                  <a:lnTo>
                    <a:pt x="20883" y="38"/>
                  </a:lnTo>
                  <a:lnTo>
                    <a:pt x="20860" y="27"/>
                  </a:lnTo>
                  <a:lnTo>
                    <a:pt x="20837" y="15"/>
                  </a:lnTo>
                  <a:lnTo>
                    <a:pt x="20837" y="15"/>
                  </a:lnTo>
                  <a:lnTo>
                    <a:pt x="20815" y="27"/>
                  </a:lnTo>
                  <a:lnTo>
                    <a:pt x="20791" y="38"/>
                  </a:lnTo>
                  <a:lnTo>
                    <a:pt x="20766" y="48"/>
                  </a:lnTo>
                  <a:lnTo>
                    <a:pt x="20740" y="57"/>
                  </a:lnTo>
                  <a:lnTo>
                    <a:pt x="20713" y="67"/>
                  </a:lnTo>
                  <a:lnTo>
                    <a:pt x="20685" y="76"/>
                  </a:lnTo>
                  <a:lnTo>
                    <a:pt x="20655" y="83"/>
                  </a:lnTo>
                  <a:lnTo>
                    <a:pt x="20626" y="90"/>
                  </a:lnTo>
                  <a:lnTo>
                    <a:pt x="20594" y="97"/>
                  </a:lnTo>
                  <a:lnTo>
                    <a:pt x="20562" y="102"/>
                  </a:lnTo>
                  <a:lnTo>
                    <a:pt x="20529" y="107"/>
                  </a:lnTo>
                  <a:lnTo>
                    <a:pt x="20495" y="112"/>
                  </a:lnTo>
                  <a:lnTo>
                    <a:pt x="20461" y="114"/>
                  </a:lnTo>
                  <a:lnTo>
                    <a:pt x="20426" y="117"/>
                  </a:lnTo>
                  <a:lnTo>
                    <a:pt x="20391" y="118"/>
                  </a:lnTo>
                  <a:lnTo>
                    <a:pt x="20354" y="118"/>
                  </a:lnTo>
                  <a:lnTo>
                    <a:pt x="20354" y="118"/>
                  </a:lnTo>
                  <a:lnTo>
                    <a:pt x="20319" y="118"/>
                  </a:lnTo>
                  <a:lnTo>
                    <a:pt x="20283" y="117"/>
                  </a:lnTo>
                  <a:lnTo>
                    <a:pt x="20249" y="115"/>
                  </a:lnTo>
                  <a:lnTo>
                    <a:pt x="20214" y="112"/>
                  </a:lnTo>
                  <a:lnTo>
                    <a:pt x="20182" y="107"/>
                  </a:lnTo>
                  <a:lnTo>
                    <a:pt x="20149" y="103"/>
                  </a:lnTo>
                  <a:lnTo>
                    <a:pt x="20117" y="98"/>
                  </a:lnTo>
                  <a:lnTo>
                    <a:pt x="20086" y="91"/>
                  </a:lnTo>
                  <a:lnTo>
                    <a:pt x="20056" y="85"/>
                  </a:lnTo>
                  <a:lnTo>
                    <a:pt x="20027" y="77"/>
                  </a:lnTo>
                  <a:lnTo>
                    <a:pt x="19999" y="68"/>
                  </a:lnTo>
                  <a:lnTo>
                    <a:pt x="19973" y="59"/>
                  </a:lnTo>
                  <a:lnTo>
                    <a:pt x="19946" y="50"/>
                  </a:lnTo>
                  <a:lnTo>
                    <a:pt x="19921" y="39"/>
                  </a:lnTo>
                  <a:lnTo>
                    <a:pt x="19898" y="29"/>
                  </a:lnTo>
                  <a:lnTo>
                    <a:pt x="19876" y="17"/>
                  </a:lnTo>
                  <a:lnTo>
                    <a:pt x="19876" y="0"/>
                  </a:lnTo>
                  <a:lnTo>
                    <a:pt x="19876" y="0"/>
                  </a:lnTo>
                  <a:lnTo>
                    <a:pt x="19860" y="8"/>
                  </a:lnTo>
                  <a:lnTo>
                    <a:pt x="19860" y="8"/>
                  </a:lnTo>
                  <a:lnTo>
                    <a:pt x="19855" y="5"/>
                  </a:lnTo>
                  <a:lnTo>
                    <a:pt x="19855" y="13"/>
                  </a:lnTo>
                  <a:lnTo>
                    <a:pt x="19855" y="13"/>
                  </a:lnTo>
                  <a:lnTo>
                    <a:pt x="19832" y="25"/>
                  </a:lnTo>
                  <a:lnTo>
                    <a:pt x="19808" y="36"/>
                  </a:lnTo>
                  <a:lnTo>
                    <a:pt x="19784" y="46"/>
                  </a:lnTo>
                  <a:lnTo>
                    <a:pt x="19758" y="56"/>
                  </a:lnTo>
                  <a:lnTo>
                    <a:pt x="19730" y="66"/>
                  </a:lnTo>
                  <a:lnTo>
                    <a:pt x="19701" y="75"/>
                  </a:lnTo>
                  <a:lnTo>
                    <a:pt x="19672" y="82"/>
                  </a:lnTo>
                  <a:lnTo>
                    <a:pt x="19641" y="90"/>
                  </a:lnTo>
                  <a:lnTo>
                    <a:pt x="19610" y="97"/>
                  </a:lnTo>
                  <a:lnTo>
                    <a:pt x="19577" y="102"/>
                  </a:lnTo>
                  <a:lnTo>
                    <a:pt x="19545" y="107"/>
                  </a:lnTo>
                  <a:lnTo>
                    <a:pt x="19511" y="111"/>
                  </a:lnTo>
                  <a:lnTo>
                    <a:pt x="19476" y="114"/>
                  </a:lnTo>
                  <a:lnTo>
                    <a:pt x="19440" y="117"/>
                  </a:lnTo>
                  <a:lnTo>
                    <a:pt x="19404" y="118"/>
                  </a:lnTo>
                  <a:lnTo>
                    <a:pt x="19367" y="118"/>
                  </a:lnTo>
                  <a:lnTo>
                    <a:pt x="19367" y="118"/>
                  </a:lnTo>
                  <a:lnTo>
                    <a:pt x="19331" y="118"/>
                  </a:lnTo>
                  <a:lnTo>
                    <a:pt x="19295" y="117"/>
                  </a:lnTo>
                  <a:lnTo>
                    <a:pt x="19260" y="114"/>
                  </a:lnTo>
                  <a:lnTo>
                    <a:pt x="19227" y="112"/>
                  </a:lnTo>
                  <a:lnTo>
                    <a:pt x="19193" y="107"/>
                  </a:lnTo>
                  <a:lnTo>
                    <a:pt x="19159" y="102"/>
                  </a:lnTo>
                  <a:lnTo>
                    <a:pt x="19127" y="97"/>
                  </a:lnTo>
                  <a:lnTo>
                    <a:pt x="19096" y="90"/>
                  </a:lnTo>
                  <a:lnTo>
                    <a:pt x="19065" y="83"/>
                  </a:lnTo>
                  <a:lnTo>
                    <a:pt x="19037" y="76"/>
                  </a:lnTo>
                  <a:lnTo>
                    <a:pt x="19009" y="67"/>
                  </a:lnTo>
                  <a:lnTo>
                    <a:pt x="18982" y="57"/>
                  </a:lnTo>
                  <a:lnTo>
                    <a:pt x="18955" y="48"/>
                  </a:lnTo>
                  <a:lnTo>
                    <a:pt x="18930" y="38"/>
                  </a:lnTo>
                  <a:lnTo>
                    <a:pt x="18906" y="27"/>
                  </a:lnTo>
                  <a:lnTo>
                    <a:pt x="18885" y="15"/>
                  </a:lnTo>
                  <a:lnTo>
                    <a:pt x="18885" y="15"/>
                  </a:lnTo>
                  <a:lnTo>
                    <a:pt x="18862" y="27"/>
                  </a:lnTo>
                  <a:lnTo>
                    <a:pt x="18839" y="38"/>
                  </a:lnTo>
                  <a:lnTo>
                    <a:pt x="18814" y="48"/>
                  </a:lnTo>
                  <a:lnTo>
                    <a:pt x="18788" y="57"/>
                  </a:lnTo>
                  <a:lnTo>
                    <a:pt x="18760" y="67"/>
                  </a:lnTo>
                  <a:lnTo>
                    <a:pt x="18732" y="76"/>
                  </a:lnTo>
                  <a:lnTo>
                    <a:pt x="18703" y="83"/>
                  </a:lnTo>
                  <a:lnTo>
                    <a:pt x="18672" y="90"/>
                  </a:lnTo>
                  <a:lnTo>
                    <a:pt x="18642" y="97"/>
                  </a:lnTo>
                  <a:lnTo>
                    <a:pt x="18609" y="102"/>
                  </a:lnTo>
                  <a:lnTo>
                    <a:pt x="18576" y="107"/>
                  </a:lnTo>
                  <a:lnTo>
                    <a:pt x="18543" y="112"/>
                  </a:lnTo>
                  <a:lnTo>
                    <a:pt x="18508" y="114"/>
                  </a:lnTo>
                  <a:lnTo>
                    <a:pt x="18473" y="117"/>
                  </a:lnTo>
                  <a:lnTo>
                    <a:pt x="18437" y="118"/>
                  </a:lnTo>
                  <a:lnTo>
                    <a:pt x="18401" y="118"/>
                  </a:lnTo>
                  <a:lnTo>
                    <a:pt x="18401" y="118"/>
                  </a:lnTo>
                  <a:lnTo>
                    <a:pt x="18365" y="118"/>
                  </a:lnTo>
                  <a:lnTo>
                    <a:pt x="18329" y="117"/>
                  </a:lnTo>
                  <a:lnTo>
                    <a:pt x="18294" y="114"/>
                  </a:lnTo>
                  <a:lnTo>
                    <a:pt x="18260" y="112"/>
                  </a:lnTo>
                  <a:lnTo>
                    <a:pt x="18226" y="107"/>
                  </a:lnTo>
                  <a:lnTo>
                    <a:pt x="18193" y="102"/>
                  </a:lnTo>
                  <a:lnTo>
                    <a:pt x="18162" y="97"/>
                  </a:lnTo>
                  <a:lnTo>
                    <a:pt x="18130" y="90"/>
                  </a:lnTo>
                  <a:lnTo>
                    <a:pt x="18099" y="83"/>
                  </a:lnTo>
                  <a:lnTo>
                    <a:pt x="18070" y="76"/>
                  </a:lnTo>
                  <a:lnTo>
                    <a:pt x="18042" y="67"/>
                  </a:lnTo>
                  <a:lnTo>
                    <a:pt x="18015" y="57"/>
                  </a:lnTo>
                  <a:lnTo>
                    <a:pt x="17988" y="48"/>
                  </a:lnTo>
                  <a:lnTo>
                    <a:pt x="17964" y="38"/>
                  </a:lnTo>
                  <a:lnTo>
                    <a:pt x="17941" y="27"/>
                  </a:lnTo>
                  <a:lnTo>
                    <a:pt x="17919" y="15"/>
                  </a:lnTo>
                  <a:lnTo>
                    <a:pt x="17919" y="15"/>
                  </a:lnTo>
                  <a:lnTo>
                    <a:pt x="17896" y="27"/>
                  </a:lnTo>
                  <a:lnTo>
                    <a:pt x="17872" y="38"/>
                  </a:lnTo>
                  <a:lnTo>
                    <a:pt x="17848" y="48"/>
                  </a:lnTo>
                  <a:lnTo>
                    <a:pt x="17822" y="57"/>
                  </a:lnTo>
                  <a:lnTo>
                    <a:pt x="17795" y="67"/>
                  </a:lnTo>
                  <a:lnTo>
                    <a:pt x="17766" y="76"/>
                  </a:lnTo>
                  <a:lnTo>
                    <a:pt x="17737" y="83"/>
                  </a:lnTo>
                  <a:lnTo>
                    <a:pt x="17706" y="90"/>
                  </a:lnTo>
                  <a:lnTo>
                    <a:pt x="17675" y="97"/>
                  </a:lnTo>
                  <a:lnTo>
                    <a:pt x="17643" y="102"/>
                  </a:lnTo>
                  <a:lnTo>
                    <a:pt x="17611" y="107"/>
                  </a:lnTo>
                  <a:lnTo>
                    <a:pt x="17577" y="112"/>
                  </a:lnTo>
                  <a:lnTo>
                    <a:pt x="17542" y="114"/>
                  </a:lnTo>
                  <a:lnTo>
                    <a:pt x="17507" y="117"/>
                  </a:lnTo>
                  <a:lnTo>
                    <a:pt x="17471" y="118"/>
                  </a:lnTo>
                  <a:lnTo>
                    <a:pt x="17435" y="118"/>
                  </a:lnTo>
                  <a:lnTo>
                    <a:pt x="17435" y="118"/>
                  </a:lnTo>
                  <a:lnTo>
                    <a:pt x="17399" y="118"/>
                  </a:lnTo>
                  <a:lnTo>
                    <a:pt x="17363" y="117"/>
                  </a:lnTo>
                  <a:lnTo>
                    <a:pt x="17329" y="114"/>
                  </a:lnTo>
                  <a:lnTo>
                    <a:pt x="17294" y="112"/>
                  </a:lnTo>
                  <a:lnTo>
                    <a:pt x="17260" y="107"/>
                  </a:lnTo>
                  <a:lnTo>
                    <a:pt x="17227" y="102"/>
                  </a:lnTo>
                  <a:lnTo>
                    <a:pt x="17195" y="97"/>
                  </a:lnTo>
                  <a:lnTo>
                    <a:pt x="17164" y="90"/>
                  </a:lnTo>
                  <a:lnTo>
                    <a:pt x="17134" y="83"/>
                  </a:lnTo>
                  <a:lnTo>
                    <a:pt x="17104" y="76"/>
                  </a:lnTo>
                  <a:lnTo>
                    <a:pt x="17076" y="67"/>
                  </a:lnTo>
                  <a:lnTo>
                    <a:pt x="17049" y="57"/>
                  </a:lnTo>
                  <a:lnTo>
                    <a:pt x="17023" y="48"/>
                  </a:lnTo>
                  <a:lnTo>
                    <a:pt x="16997" y="38"/>
                  </a:lnTo>
                  <a:lnTo>
                    <a:pt x="16975" y="27"/>
                  </a:lnTo>
                  <a:lnTo>
                    <a:pt x="16952" y="15"/>
                  </a:lnTo>
                  <a:lnTo>
                    <a:pt x="16952" y="15"/>
                  </a:lnTo>
                  <a:lnTo>
                    <a:pt x="16930" y="27"/>
                  </a:lnTo>
                  <a:lnTo>
                    <a:pt x="16906" y="38"/>
                  </a:lnTo>
                  <a:lnTo>
                    <a:pt x="16881" y="48"/>
                  </a:lnTo>
                  <a:lnTo>
                    <a:pt x="16856" y="57"/>
                  </a:lnTo>
                  <a:lnTo>
                    <a:pt x="16829" y="67"/>
                  </a:lnTo>
                  <a:lnTo>
                    <a:pt x="16800" y="76"/>
                  </a:lnTo>
                  <a:lnTo>
                    <a:pt x="16771" y="83"/>
                  </a:lnTo>
                  <a:lnTo>
                    <a:pt x="16740" y="90"/>
                  </a:lnTo>
                  <a:lnTo>
                    <a:pt x="16709" y="97"/>
                  </a:lnTo>
                  <a:lnTo>
                    <a:pt x="16677" y="102"/>
                  </a:lnTo>
                  <a:lnTo>
                    <a:pt x="16644" y="107"/>
                  </a:lnTo>
                  <a:lnTo>
                    <a:pt x="16610" y="112"/>
                  </a:lnTo>
                  <a:lnTo>
                    <a:pt x="16576" y="114"/>
                  </a:lnTo>
                  <a:lnTo>
                    <a:pt x="16541" y="117"/>
                  </a:lnTo>
                  <a:lnTo>
                    <a:pt x="16505" y="118"/>
                  </a:lnTo>
                  <a:lnTo>
                    <a:pt x="16469" y="118"/>
                  </a:lnTo>
                  <a:lnTo>
                    <a:pt x="16469" y="118"/>
                  </a:lnTo>
                  <a:lnTo>
                    <a:pt x="16432" y="118"/>
                  </a:lnTo>
                  <a:lnTo>
                    <a:pt x="16397" y="117"/>
                  </a:lnTo>
                  <a:lnTo>
                    <a:pt x="16363" y="114"/>
                  </a:lnTo>
                  <a:lnTo>
                    <a:pt x="16328" y="112"/>
                  </a:lnTo>
                  <a:lnTo>
                    <a:pt x="16294" y="107"/>
                  </a:lnTo>
                  <a:lnTo>
                    <a:pt x="16261" y="102"/>
                  </a:lnTo>
                  <a:lnTo>
                    <a:pt x="16229" y="97"/>
                  </a:lnTo>
                  <a:lnTo>
                    <a:pt x="16198" y="90"/>
                  </a:lnTo>
                  <a:lnTo>
                    <a:pt x="16168" y="83"/>
                  </a:lnTo>
                  <a:lnTo>
                    <a:pt x="16138" y="76"/>
                  </a:lnTo>
                  <a:lnTo>
                    <a:pt x="16110" y="67"/>
                  </a:lnTo>
                  <a:lnTo>
                    <a:pt x="16083" y="57"/>
                  </a:lnTo>
                  <a:lnTo>
                    <a:pt x="16057" y="48"/>
                  </a:lnTo>
                  <a:lnTo>
                    <a:pt x="16032" y="38"/>
                  </a:lnTo>
                  <a:lnTo>
                    <a:pt x="16009" y="27"/>
                  </a:lnTo>
                  <a:lnTo>
                    <a:pt x="15986" y="15"/>
                  </a:lnTo>
                  <a:lnTo>
                    <a:pt x="15986" y="15"/>
                  </a:lnTo>
                  <a:lnTo>
                    <a:pt x="15964" y="27"/>
                  </a:lnTo>
                  <a:lnTo>
                    <a:pt x="15940" y="38"/>
                  </a:lnTo>
                  <a:lnTo>
                    <a:pt x="15915" y="48"/>
                  </a:lnTo>
                  <a:lnTo>
                    <a:pt x="15889" y="57"/>
                  </a:lnTo>
                  <a:lnTo>
                    <a:pt x="15862" y="67"/>
                  </a:lnTo>
                  <a:lnTo>
                    <a:pt x="15833" y="76"/>
                  </a:lnTo>
                  <a:lnTo>
                    <a:pt x="15804" y="83"/>
                  </a:lnTo>
                  <a:lnTo>
                    <a:pt x="15775" y="90"/>
                  </a:lnTo>
                  <a:lnTo>
                    <a:pt x="15743" y="97"/>
                  </a:lnTo>
                  <a:lnTo>
                    <a:pt x="15710" y="102"/>
                  </a:lnTo>
                  <a:lnTo>
                    <a:pt x="15678" y="107"/>
                  </a:lnTo>
                  <a:lnTo>
                    <a:pt x="15644" y="112"/>
                  </a:lnTo>
                  <a:lnTo>
                    <a:pt x="15610" y="114"/>
                  </a:lnTo>
                  <a:lnTo>
                    <a:pt x="15574" y="117"/>
                  </a:lnTo>
                  <a:lnTo>
                    <a:pt x="15539" y="118"/>
                  </a:lnTo>
                  <a:lnTo>
                    <a:pt x="15502" y="118"/>
                  </a:lnTo>
                  <a:lnTo>
                    <a:pt x="15502" y="118"/>
                  </a:lnTo>
                  <a:lnTo>
                    <a:pt x="15466" y="118"/>
                  </a:lnTo>
                  <a:lnTo>
                    <a:pt x="15430" y="117"/>
                  </a:lnTo>
                  <a:lnTo>
                    <a:pt x="15396" y="114"/>
                  </a:lnTo>
                  <a:lnTo>
                    <a:pt x="15362" y="112"/>
                  </a:lnTo>
                  <a:lnTo>
                    <a:pt x="15328" y="107"/>
                  </a:lnTo>
                  <a:lnTo>
                    <a:pt x="15295" y="102"/>
                  </a:lnTo>
                  <a:lnTo>
                    <a:pt x="15263" y="97"/>
                  </a:lnTo>
                  <a:lnTo>
                    <a:pt x="15231" y="90"/>
                  </a:lnTo>
                  <a:lnTo>
                    <a:pt x="15202" y="83"/>
                  </a:lnTo>
                  <a:lnTo>
                    <a:pt x="15172" y="76"/>
                  </a:lnTo>
                  <a:lnTo>
                    <a:pt x="15144" y="67"/>
                  </a:lnTo>
                  <a:lnTo>
                    <a:pt x="15117" y="57"/>
                  </a:lnTo>
                  <a:lnTo>
                    <a:pt x="15091" y="48"/>
                  </a:lnTo>
                  <a:lnTo>
                    <a:pt x="15066" y="38"/>
                  </a:lnTo>
                  <a:lnTo>
                    <a:pt x="15042" y="27"/>
                  </a:lnTo>
                  <a:lnTo>
                    <a:pt x="15020" y="15"/>
                  </a:lnTo>
                  <a:lnTo>
                    <a:pt x="15020" y="15"/>
                  </a:lnTo>
                  <a:lnTo>
                    <a:pt x="14997" y="27"/>
                  </a:lnTo>
                  <a:lnTo>
                    <a:pt x="14974" y="38"/>
                  </a:lnTo>
                  <a:lnTo>
                    <a:pt x="14949" y="48"/>
                  </a:lnTo>
                  <a:lnTo>
                    <a:pt x="14923" y="57"/>
                  </a:lnTo>
                  <a:lnTo>
                    <a:pt x="14896" y="67"/>
                  </a:lnTo>
                  <a:lnTo>
                    <a:pt x="14867" y="76"/>
                  </a:lnTo>
                  <a:lnTo>
                    <a:pt x="14838" y="83"/>
                  </a:lnTo>
                  <a:lnTo>
                    <a:pt x="14808" y="90"/>
                  </a:lnTo>
                  <a:lnTo>
                    <a:pt x="14777" y="97"/>
                  </a:lnTo>
                  <a:lnTo>
                    <a:pt x="14744" y="102"/>
                  </a:lnTo>
                  <a:lnTo>
                    <a:pt x="14712" y="107"/>
                  </a:lnTo>
                  <a:lnTo>
                    <a:pt x="14678" y="112"/>
                  </a:lnTo>
                  <a:lnTo>
                    <a:pt x="14643" y="114"/>
                  </a:lnTo>
                  <a:lnTo>
                    <a:pt x="14608" y="117"/>
                  </a:lnTo>
                  <a:lnTo>
                    <a:pt x="14572" y="118"/>
                  </a:lnTo>
                  <a:lnTo>
                    <a:pt x="14536" y="118"/>
                  </a:lnTo>
                  <a:lnTo>
                    <a:pt x="14536" y="118"/>
                  </a:lnTo>
                  <a:lnTo>
                    <a:pt x="14501" y="118"/>
                  </a:lnTo>
                  <a:lnTo>
                    <a:pt x="14465" y="117"/>
                  </a:lnTo>
                  <a:lnTo>
                    <a:pt x="14430" y="114"/>
                  </a:lnTo>
                  <a:lnTo>
                    <a:pt x="14395" y="112"/>
                  </a:lnTo>
                  <a:lnTo>
                    <a:pt x="14362" y="107"/>
                  </a:lnTo>
                  <a:lnTo>
                    <a:pt x="14328" y="102"/>
                  </a:lnTo>
                  <a:lnTo>
                    <a:pt x="14297" y="97"/>
                  </a:lnTo>
                  <a:lnTo>
                    <a:pt x="14265" y="90"/>
                  </a:lnTo>
                  <a:lnTo>
                    <a:pt x="14235" y="83"/>
                  </a:lnTo>
                  <a:lnTo>
                    <a:pt x="14205" y="76"/>
                  </a:lnTo>
                  <a:lnTo>
                    <a:pt x="14177" y="67"/>
                  </a:lnTo>
                  <a:lnTo>
                    <a:pt x="14150" y="57"/>
                  </a:lnTo>
                  <a:lnTo>
                    <a:pt x="14124" y="48"/>
                  </a:lnTo>
                  <a:lnTo>
                    <a:pt x="14100" y="38"/>
                  </a:lnTo>
                  <a:lnTo>
                    <a:pt x="14076" y="27"/>
                  </a:lnTo>
                  <a:lnTo>
                    <a:pt x="14054" y="15"/>
                  </a:lnTo>
                  <a:lnTo>
                    <a:pt x="14054" y="15"/>
                  </a:lnTo>
                  <a:lnTo>
                    <a:pt x="14031" y="27"/>
                  </a:lnTo>
                  <a:lnTo>
                    <a:pt x="14008" y="38"/>
                  </a:lnTo>
                  <a:lnTo>
                    <a:pt x="13983" y="48"/>
                  </a:lnTo>
                  <a:lnTo>
                    <a:pt x="13957" y="57"/>
                  </a:lnTo>
                  <a:lnTo>
                    <a:pt x="13930" y="67"/>
                  </a:lnTo>
                  <a:lnTo>
                    <a:pt x="13902" y="76"/>
                  </a:lnTo>
                  <a:lnTo>
                    <a:pt x="13872" y="83"/>
                  </a:lnTo>
                  <a:lnTo>
                    <a:pt x="13842" y="90"/>
                  </a:lnTo>
                  <a:lnTo>
                    <a:pt x="13810" y="97"/>
                  </a:lnTo>
                  <a:lnTo>
                    <a:pt x="13779" y="102"/>
                  </a:lnTo>
                  <a:lnTo>
                    <a:pt x="13746" y="107"/>
                  </a:lnTo>
                  <a:lnTo>
                    <a:pt x="13712" y="112"/>
                  </a:lnTo>
                  <a:lnTo>
                    <a:pt x="13677" y="114"/>
                  </a:lnTo>
                  <a:lnTo>
                    <a:pt x="13642" y="117"/>
                  </a:lnTo>
                  <a:lnTo>
                    <a:pt x="13606" y="118"/>
                  </a:lnTo>
                  <a:lnTo>
                    <a:pt x="13571" y="118"/>
                  </a:lnTo>
                  <a:lnTo>
                    <a:pt x="13571" y="118"/>
                  </a:lnTo>
                  <a:lnTo>
                    <a:pt x="13532" y="118"/>
                  </a:lnTo>
                  <a:lnTo>
                    <a:pt x="13495" y="116"/>
                  </a:lnTo>
                  <a:lnTo>
                    <a:pt x="13458" y="114"/>
                  </a:lnTo>
                  <a:lnTo>
                    <a:pt x="13422" y="111"/>
                  </a:lnTo>
                  <a:lnTo>
                    <a:pt x="13388" y="106"/>
                  </a:lnTo>
                  <a:lnTo>
                    <a:pt x="13353" y="101"/>
                  </a:lnTo>
                  <a:lnTo>
                    <a:pt x="13320" y="94"/>
                  </a:lnTo>
                  <a:lnTo>
                    <a:pt x="13287" y="88"/>
                  </a:lnTo>
                  <a:lnTo>
                    <a:pt x="13256" y="80"/>
                  </a:lnTo>
                  <a:lnTo>
                    <a:pt x="13225" y="71"/>
                  </a:lnTo>
                  <a:lnTo>
                    <a:pt x="13196" y="62"/>
                  </a:lnTo>
                  <a:lnTo>
                    <a:pt x="13169" y="52"/>
                  </a:lnTo>
                  <a:lnTo>
                    <a:pt x="13141" y="41"/>
                  </a:lnTo>
                  <a:lnTo>
                    <a:pt x="13116" y="30"/>
                  </a:lnTo>
                  <a:lnTo>
                    <a:pt x="13094" y="18"/>
                  </a:lnTo>
                  <a:lnTo>
                    <a:pt x="13071" y="5"/>
                  </a:lnTo>
                  <a:lnTo>
                    <a:pt x="13071" y="0"/>
                  </a:lnTo>
                  <a:lnTo>
                    <a:pt x="13071" y="0"/>
                  </a:lnTo>
                  <a:lnTo>
                    <a:pt x="13049" y="13"/>
                  </a:lnTo>
                  <a:lnTo>
                    <a:pt x="13025" y="26"/>
                  </a:lnTo>
                  <a:lnTo>
                    <a:pt x="13000" y="38"/>
                  </a:lnTo>
                  <a:lnTo>
                    <a:pt x="12973" y="49"/>
                  </a:lnTo>
                  <a:lnTo>
                    <a:pt x="12944" y="59"/>
                  </a:lnTo>
                  <a:lnTo>
                    <a:pt x="12915" y="69"/>
                  </a:lnTo>
                  <a:lnTo>
                    <a:pt x="12885" y="78"/>
                  </a:lnTo>
                  <a:lnTo>
                    <a:pt x="12852" y="86"/>
                  </a:lnTo>
                  <a:lnTo>
                    <a:pt x="12819" y="93"/>
                  </a:lnTo>
                  <a:lnTo>
                    <a:pt x="12785" y="100"/>
                  </a:lnTo>
                  <a:lnTo>
                    <a:pt x="12751" y="105"/>
                  </a:lnTo>
                  <a:lnTo>
                    <a:pt x="12715" y="111"/>
                  </a:lnTo>
                  <a:lnTo>
                    <a:pt x="12678" y="114"/>
                  </a:lnTo>
                  <a:lnTo>
                    <a:pt x="12639" y="116"/>
                  </a:lnTo>
                  <a:lnTo>
                    <a:pt x="12601" y="118"/>
                  </a:lnTo>
                  <a:lnTo>
                    <a:pt x="12562" y="118"/>
                  </a:lnTo>
                  <a:lnTo>
                    <a:pt x="12562" y="118"/>
                  </a:lnTo>
                  <a:lnTo>
                    <a:pt x="12526" y="118"/>
                  </a:lnTo>
                  <a:lnTo>
                    <a:pt x="12490" y="117"/>
                  </a:lnTo>
                  <a:lnTo>
                    <a:pt x="12455" y="114"/>
                  </a:lnTo>
                  <a:lnTo>
                    <a:pt x="12422" y="112"/>
                  </a:lnTo>
                  <a:lnTo>
                    <a:pt x="12388" y="107"/>
                  </a:lnTo>
                  <a:lnTo>
                    <a:pt x="12354" y="102"/>
                  </a:lnTo>
                  <a:lnTo>
                    <a:pt x="12323" y="97"/>
                  </a:lnTo>
                  <a:lnTo>
                    <a:pt x="12291" y="90"/>
                  </a:lnTo>
                  <a:lnTo>
                    <a:pt x="12261" y="83"/>
                  </a:lnTo>
                  <a:lnTo>
                    <a:pt x="12231" y="76"/>
                  </a:lnTo>
                  <a:lnTo>
                    <a:pt x="12203" y="67"/>
                  </a:lnTo>
                  <a:lnTo>
                    <a:pt x="12177" y="57"/>
                  </a:lnTo>
                  <a:lnTo>
                    <a:pt x="12151" y="48"/>
                  </a:lnTo>
                  <a:lnTo>
                    <a:pt x="12125" y="38"/>
                  </a:lnTo>
                  <a:lnTo>
                    <a:pt x="12102" y="27"/>
                  </a:lnTo>
                  <a:lnTo>
                    <a:pt x="12080" y="15"/>
                  </a:lnTo>
                  <a:lnTo>
                    <a:pt x="12080" y="15"/>
                  </a:lnTo>
                  <a:lnTo>
                    <a:pt x="12057" y="27"/>
                  </a:lnTo>
                  <a:lnTo>
                    <a:pt x="12034" y="38"/>
                  </a:lnTo>
                  <a:lnTo>
                    <a:pt x="12009" y="48"/>
                  </a:lnTo>
                  <a:lnTo>
                    <a:pt x="11983" y="57"/>
                  </a:lnTo>
                  <a:lnTo>
                    <a:pt x="11956" y="67"/>
                  </a:lnTo>
                  <a:lnTo>
                    <a:pt x="11927" y="76"/>
                  </a:lnTo>
                  <a:lnTo>
                    <a:pt x="11898" y="83"/>
                  </a:lnTo>
                  <a:lnTo>
                    <a:pt x="11867" y="90"/>
                  </a:lnTo>
                  <a:lnTo>
                    <a:pt x="11837" y="97"/>
                  </a:lnTo>
                  <a:lnTo>
                    <a:pt x="11804" y="102"/>
                  </a:lnTo>
                  <a:lnTo>
                    <a:pt x="11772" y="107"/>
                  </a:lnTo>
                  <a:lnTo>
                    <a:pt x="11738" y="112"/>
                  </a:lnTo>
                  <a:lnTo>
                    <a:pt x="11703" y="114"/>
                  </a:lnTo>
                  <a:lnTo>
                    <a:pt x="11668" y="117"/>
                  </a:lnTo>
                  <a:lnTo>
                    <a:pt x="11632" y="118"/>
                  </a:lnTo>
                  <a:lnTo>
                    <a:pt x="11596" y="118"/>
                  </a:lnTo>
                  <a:lnTo>
                    <a:pt x="11596" y="118"/>
                  </a:lnTo>
                  <a:lnTo>
                    <a:pt x="11560" y="118"/>
                  </a:lnTo>
                  <a:lnTo>
                    <a:pt x="11524" y="117"/>
                  </a:lnTo>
                  <a:lnTo>
                    <a:pt x="11490" y="114"/>
                  </a:lnTo>
                  <a:lnTo>
                    <a:pt x="11455" y="112"/>
                  </a:lnTo>
                  <a:lnTo>
                    <a:pt x="11421" y="107"/>
                  </a:lnTo>
                  <a:lnTo>
                    <a:pt x="11388" y="102"/>
                  </a:lnTo>
                  <a:lnTo>
                    <a:pt x="11357" y="97"/>
                  </a:lnTo>
                  <a:lnTo>
                    <a:pt x="11325" y="90"/>
                  </a:lnTo>
                  <a:lnTo>
                    <a:pt x="11295" y="83"/>
                  </a:lnTo>
                  <a:lnTo>
                    <a:pt x="11265" y="76"/>
                  </a:lnTo>
                  <a:lnTo>
                    <a:pt x="11237" y="67"/>
                  </a:lnTo>
                  <a:lnTo>
                    <a:pt x="11210" y="57"/>
                  </a:lnTo>
                  <a:lnTo>
                    <a:pt x="11184" y="48"/>
                  </a:lnTo>
                  <a:lnTo>
                    <a:pt x="11160" y="38"/>
                  </a:lnTo>
                  <a:lnTo>
                    <a:pt x="11136" y="27"/>
                  </a:lnTo>
                  <a:lnTo>
                    <a:pt x="11113" y="15"/>
                  </a:lnTo>
                  <a:lnTo>
                    <a:pt x="11113" y="15"/>
                  </a:lnTo>
                  <a:lnTo>
                    <a:pt x="11091" y="27"/>
                  </a:lnTo>
                  <a:lnTo>
                    <a:pt x="11067" y="38"/>
                  </a:lnTo>
                  <a:lnTo>
                    <a:pt x="11043" y="48"/>
                  </a:lnTo>
                  <a:lnTo>
                    <a:pt x="11017" y="57"/>
                  </a:lnTo>
                  <a:lnTo>
                    <a:pt x="10990" y="67"/>
                  </a:lnTo>
                  <a:lnTo>
                    <a:pt x="10961" y="76"/>
                  </a:lnTo>
                  <a:lnTo>
                    <a:pt x="10932" y="83"/>
                  </a:lnTo>
                  <a:lnTo>
                    <a:pt x="10902" y="90"/>
                  </a:lnTo>
                  <a:lnTo>
                    <a:pt x="10870" y="97"/>
                  </a:lnTo>
                  <a:lnTo>
                    <a:pt x="10838" y="102"/>
                  </a:lnTo>
                  <a:lnTo>
                    <a:pt x="10806" y="107"/>
                  </a:lnTo>
                  <a:lnTo>
                    <a:pt x="10772" y="112"/>
                  </a:lnTo>
                  <a:lnTo>
                    <a:pt x="10737" y="114"/>
                  </a:lnTo>
                  <a:lnTo>
                    <a:pt x="10702" y="117"/>
                  </a:lnTo>
                  <a:lnTo>
                    <a:pt x="10666" y="118"/>
                  </a:lnTo>
                  <a:lnTo>
                    <a:pt x="10630" y="118"/>
                  </a:lnTo>
                  <a:lnTo>
                    <a:pt x="10630" y="118"/>
                  </a:lnTo>
                  <a:lnTo>
                    <a:pt x="10594" y="118"/>
                  </a:lnTo>
                  <a:lnTo>
                    <a:pt x="10558" y="117"/>
                  </a:lnTo>
                  <a:lnTo>
                    <a:pt x="10524" y="114"/>
                  </a:lnTo>
                  <a:lnTo>
                    <a:pt x="10489" y="112"/>
                  </a:lnTo>
                  <a:lnTo>
                    <a:pt x="10455" y="107"/>
                  </a:lnTo>
                  <a:lnTo>
                    <a:pt x="10422" y="102"/>
                  </a:lnTo>
                  <a:lnTo>
                    <a:pt x="10390" y="97"/>
                  </a:lnTo>
                  <a:lnTo>
                    <a:pt x="10359" y="90"/>
                  </a:lnTo>
                  <a:lnTo>
                    <a:pt x="10329" y="83"/>
                  </a:lnTo>
                  <a:lnTo>
                    <a:pt x="10299" y="76"/>
                  </a:lnTo>
                  <a:lnTo>
                    <a:pt x="10271" y="67"/>
                  </a:lnTo>
                  <a:lnTo>
                    <a:pt x="10244" y="57"/>
                  </a:lnTo>
                  <a:lnTo>
                    <a:pt x="10218" y="48"/>
                  </a:lnTo>
                  <a:lnTo>
                    <a:pt x="10193" y="38"/>
                  </a:lnTo>
                  <a:lnTo>
                    <a:pt x="10170" y="27"/>
                  </a:lnTo>
                  <a:lnTo>
                    <a:pt x="10147" y="15"/>
                  </a:lnTo>
                  <a:lnTo>
                    <a:pt x="10147" y="15"/>
                  </a:lnTo>
                  <a:lnTo>
                    <a:pt x="10125" y="27"/>
                  </a:lnTo>
                  <a:lnTo>
                    <a:pt x="10101" y="38"/>
                  </a:lnTo>
                  <a:lnTo>
                    <a:pt x="10076" y="48"/>
                  </a:lnTo>
                  <a:lnTo>
                    <a:pt x="10050" y="57"/>
                  </a:lnTo>
                  <a:lnTo>
                    <a:pt x="10023" y="67"/>
                  </a:lnTo>
                  <a:lnTo>
                    <a:pt x="9996" y="76"/>
                  </a:lnTo>
                  <a:lnTo>
                    <a:pt x="9966" y="83"/>
                  </a:lnTo>
                  <a:lnTo>
                    <a:pt x="9936" y="90"/>
                  </a:lnTo>
                  <a:lnTo>
                    <a:pt x="9904" y="97"/>
                  </a:lnTo>
                  <a:lnTo>
                    <a:pt x="9872" y="102"/>
                  </a:lnTo>
                  <a:lnTo>
                    <a:pt x="9839" y="107"/>
                  </a:lnTo>
                  <a:lnTo>
                    <a:pt x="9805" y="112"/>
                  </a:lnTo>
                  <a:lnTo>
                    <a:pt x="9771" y="114"/>
                  </a:lnTo>
                  <a:lnTo>
                    <a:pt x="9736" y="117"/>
                  </a:lnTo>
                  <a:lnTo>
                    <a:pt x="9700" y="118"/>
                  </a:lnTo>
                  <a:lnTo>
                    <a:pt x="9664" y="118"/>
                  </a:lnTo>
                  <a:lnTo>
                    <a:pt x="9664" y="118"/>
                  </a:lnTo>
                  <a:lnTo>
                    <a:pt x="9627" y="118"/>
                  </a:lnTo>
                  <a:lnTo>
                    <a:pt x="9593" y="117"/>
                  </a:lnTo>
                  <a:lnTo>
                    <a:pt x="9557" y="114"/>
                  </a:lnTo>
                  <a:lnTo>
                    <a:pt x="9523" y="112"/>
                  </a:lnTo>
                  <a:lnTo>
                    <a:pt x="9489" y="107"/>
                  </a:lnTo>
                  <a:lnTo>
                    <a:pt x="9456" y="102"/>
                  </a:lnTo>
                  <a:lnTo>
                    <a:pt x="9424" y="97"/>
                  </a:lnTo>
                  <a:lnTo>
                    <a:pt x="9393" y="90"/>
                  </a:lnTo>
                  <a:lnTo>
                    <a:pt x="9363" y="83"/>
                  </a:lnTo>
                  <a:lnTo>
                    <a:pt x="9333" y="76"/>
                  </a:lnTo>
                  <a:lnTo>
                    <a:pt x="9305" y="67"/>
                  </a:lnTo>
                  <a:lnTo>
                    <a:pt x="9278" y="57"/>
                  </a:lnTo>
                  <a:lnTo>
                    <a:pt x="9252" y="48"/>
                  </a:lnTo>
                  <a:lnTo>
                    <a:pt x="9227" y="38"/>
                  </a:lnTo>
                  <a:lnTo>
                    <a:pt x="9203" y="27"/>
                  </a:lnTo>
                  <a:lnTo>
                    <a:pt x="9181" y="15"/>
                  </a:lnTo>
                  <a:lnTo>
                    <a:pt x="9181" y="15"/>
                  </a:lnTo>
                  <a:lnTo>
                    <a:pt x="9159" y="27"/>
                  </a:lnTo>
                  <a:lnTo>
                    <a:pt x="9135" y="38"/>
                  </a:lnTo>
                  <a:lnTo>
                    <a:pt x="9110" y="48"/>
                  </a:lnTo>
                  <a:lnTo>
                    <a:pt x="9084" y="57"/>
                  </a:lnTo>
                  <a:lnTo>
                    <a:pt x="9057" y="67"/>
                  </a:lnTo>
                  <a:lnTo>
                    <a:pt x="9029" y="76"/>
                  </a:lnTo>
                  <a:lnTo>
                    <a:pt x="8999" y="83"/>
                  </a:lnTo>
                  <a:lnTo>
                    <a:pt x="8970" y="90"/>
                  </a:lnTo>
                  <a:lnTo>
                    <a:pt x="8938" y="97"/>
                  </a:lnTo>
                  <a:lnTo>
                    <a:pt x="8905" y="102"/>
                  </a:lnTo>
                  <a:lnTo>
                    <a:pt x="8873" y="107"/>
                  </a:lnTo>
                  <a:lnTo>
                    <a:pt x="8839" y="112"/>
                  </a:lnTo>
                  <a:lnTo>
                    <a:pt x="8805" y="114"/>
                  </a:lnTo>
                  <a:lnTo>
                    <a:pt x="8769" y="117"/>
                  </a:lnTo>
                  <a:lnTo>
                    <a:pt x="8734" y="118"/>
                  </a:lnTo>
                  <a:lnTo>
                    <a:pt x="8697" y="118"/>
                  </a:lnTo>
                  <a:lnTo>
                    <a:pt x="8697" y="118"/>
                  </a:lnTo>
                  <a:lnTo>
                    <a:pt x="8662" y="118"/>
                  </a:lnTo>
                  <a:lnTo>
                    <a:pt x="8626" y="117"/>
                  </a:lnTo>
                  <a:lnTo>
                    <a:pt x="8591" y="114"/>
                  </a:lnTo>
                  <a:lnTo>
                    <a:pt x="8557" y="112"/>
                  </a:lnTo>
                  <a:lnTo>
                    <a:pt x="8523" y="107"/>
                  </a:lnTo>
                  <a:lnTo>
                    <a:pt x="8489" y="102"/>
                  </a:lnTo>
                  <a:lnTo>
                    <a:pt x="8458" y="97"/>
                  </a:lnTo>
                  <a:lnTo>
                    <a:pt x="8426" y="90"/>
                  </a:lnTo>
                  <a:lnTo>
                    <a:pt x="8396" y="83"/>
                  </a:lnTo>
                  <a:lnTo>
                    <a:pt x="8368" y="76"/>
                  </a:lnTo>
                  <a:lnTo>
                    <a:pt x="8339" y="67"/>
                  </a:lnTo>
                  <a:lnTo>
                    <a:pt x="8312" y="57"/>
                  </a:lnTo>
                  <a:lnTo>
                    <a:pt x="8286" y="48"/>
                  </a:lnTo>
                  <a:lnTo>
                    <a:pt x="8261" y="38"/>
                  </a:lnTo>
                  <a:lnTo>
                    <a:pt x="8237" y="27"/>
                  </a:lnTo>
                  <a:lnTo>
                    <a:pt x="8215" y="15"/>
                  </a:lnTo>
                  <a:lnTo>
                    <a:pt x="8215" y="15"/>
                  </a:lnTo>
                  <a:lnTo>
                    <a:pt x="8192" y="27"/>
                  </a:lnTo>
                  <a:lnTo>
                    <a:pt x="8169" y="38"/>
                  </a:lnTo>
                  <a:lnTo>
                    <a:pt x="8144" y="48"/>
                  </a:lnTo>
                  <a:lnTo>
                    <a:pt x="8118" y="57"/>
                  </a:lnTo>
                  <a:lnTo>
                    <a:pt x="8091" y="67"/>
                  </a:lnTo>
                  <a:lnTo>
                    <a:pt x="8063" y="76"/>
                  </a:lnTo>
                  <a:lnTo>
                    <a:pt x="8033" y="83"/>
                  </a:lnTo>
                  <a:lnTo>
                    <a:pt x="8003" y="90"/>
                  </a:lnTo>
                  <a:lnTo>
                    <a:pt x="7972" y="97"/>
                  </a:lnTo>
                  <a:lnTo>
                    <a:pt x="7940" y="102"/>
                  </a:lnTo>
                  <a:lnTo>
                    <a:pt x="7907" y="107"/>
                  </a:lnTo>
                  <a:lnTo>
                    <a:pt x="7873" y="112"/>
                  </a:lnTo>
                  <a:lnTo>
                    <a:pt x="7838" y="114"/>
                  </a:lnTo>
                  <a:lnTo>
                    <a:pt x="7803" y="117"/>
                  </a:lnTo>
                  <a:lnTo>
                    <a:pt x="7768" y="118"/>
                  </a:lnTo>
                  <a:lnTo>
                    <a:pt x="7732" y="118"/>
                  </a:lnTo>
                  <a:lnTo>
                    <a:pt x="7732" y="118"/>
                  </a:lnTo>
                  <a:lnTo>
                    <a:pt x="7696" y="118"/>
                  </a:lnTo>
                  <a:lnTo>
                    <a:pt x="7660" y="117"/>
                  </a:lnTo>
                  <a:lnTo>
                    <a:pt x="7625" y="114"/>
                  </a:lnTo>
                  <a:lnTo>
                    <a:pt x="7590" y="112"/>
                  </a:lnTo>
                  <a:lnTo>
                    <a:pt x="7556" y="107"/>
                  </a:lnTo>
                  <a:lnTo>
                    <a:pt x="7524" y="102"/>
                  </a:lnTo>
                  <a:lnTo>
                    <a:pt x="7492" y="97"/>
                  </a:lnTo>
                  <a:lnTo>
                    <a:pt x="7460" y="90"/>
                  </a:lnTo>
                  <a:lnTo>
                    <a:pt x="7430" y="83"/>
                  </a:lnTo>
                  <a:lnTo>
                    <a:pt x="7401" y="76"/>
                  </a:lnTo>
                  <a:lnTo>
                    <a:pt x="7372" y="67"/>
                  </a:lnTo>
                  <a:lnTo>
                    <a:pt x="7345" y="57"/>
                  </a:lnTo>
                  <a:lnTo>
                    <a:pt x="7319" y="48"/>
                  </a:lnTo>
                  <a:lnTo>
                    <a:pt x="7295" y="38"/>
                  </a:lnTo>
                  <a:lnTo>
                    <a:pt x="7271" y="27"/>
                  </a:lnTo>
                  <a:lnTo>
                    <a:pt x="7249" y="15"/>
                  </a:lnTo>
                  <a:lnTo>
                    <a:pt x="7249" y="15"/>
                  </a:lnTo>
                  <a:lnTo>
                    <a:pt x="7226" y="27"/>
                  </a:lnTo>
                  <a:lnTo>
                    <a:pt x="7202" y="38"/>
                  </a:lnTo>
                  <a:lnTo>
                    <a:pt x="7178" y="48"/>
                  </a:lnTo>
                  <a:lnTo>
                    <a:pt x="7152" y="57"/>
                  </a:lnTo>
                  <a:lnTo>
                    <a:pt x="7125" y="67"/>
                  </a:lnTo>
                  <a:lnTo>
                    <a:pt x="7097" y="76"/>
                  </a:lnTo>
                  <a:lnTo>
                    <a:pt x="7067" y="83"/>
                  </a:lnTo>
                  <a:lnTo>
                    <a:pt x="7037" y="90"/>
                  </a:lnTo>
                  <a:lnTo>
                    <a:pt x="7005" y="97"/>
                  </a:lnTo>
                  <a:lnTo>
                    <a:pt x="6974" y="102"/>
                  </a:lnTo>
                  <a:lnTo>
                    <a:pt x="6941" y="107"/>
                  </a:lnTo>
                  <a:lnTo>
                    <a:pt x="6907" y="112"/>
                  </a:lnTo>
                  <a:lnTo>
                    <a:pt x="6872" y="114"/>
                  </a:lnTo>
                  <a:lnTo>
                    <a:pt x="6838" y="117"/>
                  </a:lnTo>
                  <a:lnTo>
                    <a:pt x="6802" y="118"/>
                  </a:lnTo>
                  <a:lnTo>
                    <a:pt x="6766" y="118"/>
                  </a:lnTo>
                  <a:lnTo>
                    <a:pt x="6766" y="118"/>
                  </a:lnTo>
                  <a:lnTo>
                    <a:pt x="6730" y="118"/>
                  </a:lnTo>
                  <a:lnTo>
                    <a:pt x="6695" y="117"/>
                  </a:lnTo>
                  <a:lnTo>
                    <a:pt x="6660" y="115"/>
                  </a:lnTo>
                  <a:lnTo>
                    <a:pt x="6626" y="112"/>
                  </a:lnTo>
                  <a:lnTo>
                    <a:pt x="6593" y="107"/>
                  </a:lnTo>
                  <a:lnTo>
                    <a:pt x="6560" y="103"/>
                  </a:lnTo>
                  <a:lnTo>
                    <a:pt x="6528" y="98"/>
                  </a:lnTo>
                  <a:lnTo>
                    <a:pt x="6498" y="91"/>
                  </a:lnTo>
                  <a:lnTo>
                    <a:pt x="6467" y="85"/>
                  </a:lnTo>
                  <a:lnTo>
                    <a:pt x="6439" y="77"/>
                  </a:lnTo>
                  <a:lnTo>
                    <a:pt x="6411" y="68"/>
                  </a:lnTo>
                  <a:lnTo>
                    <a:pt x="6383" y="59"/>
                  </a:lnTo>
                  <a:lnTo>
                    <a:pt x="6357" y="50"/>
                  </a:lnTo>
                  <a:lnTo>
                    <a:pt x="6333" y="39"/>
                  </a:lnTo>
                  <a:lnTo>
                    <a:pt x="6309" y="29"/>
                  </a:lnTo>
                  <a:lnTo>
                    <a:pt x="6288" y="17"/>
                  </a:lnTo>
                  <a:lnTo>
                    <a:pt x="6288" y="0"/>
                  </a:lnTo>
                  <a:lnTo>
                    <a:pt x="6288" y="0"/>
                  </a:lnTo>
                  <a:lnTo>
                    <a:pt x="6272" y="8"/>
                  </a:lnTo>
                  <a:lnTo>
                    <a:pt x="6272" y="8"/>
                  </a:lnTo>
                  <a:lnTo>
                    <a:pt x="6266" y="5"/>
                  </a:lnTo>
                  <a:lnTo>
                    <a:pt x="6266" y="13"/>
                  </a:lnTo>
                  <a:lnTo>
                    <a:pt x="6266" y="13"/>
                  </a:lnTo>
                  <a:lnTo>
                    <a:pt x="6244" y="25"/>
                  </a:lnTo>
                  <a:lnTo>
                    <a:pt x="6220" y="36"/>
                  </a:lnTo>
                  <a:lnTo>
                    <a:pt x="6195" y="46"/>
                  </a:lnTo>
                  <a:lnTo>
                    <a:pt x="6169" y="56"/>
                  </a:lnTo>
                  <a:lnTo>
                    <a:pt x="6142" y="66"/>
                  </a:lnTo>
                  <a:lnTo>
                    <a:pt x="6113" y="75"/>
                  </a:lnTo>
                  <a:lnTo>
                    <a:pt x="6084" y="82"/>
                  </a:lnTo>
                  <a:lnTo>
                    <a:pt x="6053" y="90"/>
                  </a:lnTo>
                  <a:lnTo>
                    <a:pt x="6022" y="97"/>
                  </a:lnTo>
                  <a:lnTo>
                    <a:pt x="5989" y="102"/>
                  </a:lnTo>
                  <a:lnTo>
                    <a:pt x="5955" y="107"/>
                  </a:lnTo>
                  <a:lnTo>
                    <a:pt x="5922" y="111"/>
                  </a:lnTo>
                  <a:lnTo>
                    <a:pt x="5887" y="114"/>
                  </a:lnTo>
                  <a:lnTo>
                    <a:pt x="5852" y="117"/>
                  </a:lnTo>
                  <a:lnTo>
                    <a:pt x="5815" y="118"/>
                  </a:lnTo>
                  <a:lnTo>
                    <a:pt x="5779" y="118"/>
                  </a:lnTo>
                  <a:lnTo>
                    <a:pt x="5779" y="118"/>
                  </a:lnTo>
                  <a:lnTo>
                    <a:pt x="5743" y="118"/>
                  </a:lnTo>
                  <a:lnTo>
                    <a:pt x="5707" y="117"/>
                  </a:lnTo>
                  <a:lnTo>
                    <a:pt x="5672" y="114"/>
                  </a:lnTo>
                  <a:lnTo>
                    <a:pt x="5638" y="112"/>
                  </a:lnTo>
                  <a:lnTo>
                    <a:pt x="5604" y="107"/>
                  </a:lnTo>
                  <a:lnTo>
                    <a:pt x="5571" y="102"/>
                  </a:lnTo>
                  <a:lnTo>
                    <a:pt x="5538" y="97"/>
                  </a:lnTo>
                  <a:lnTo>
                    <a:pt x="5508" y="90"/>
                  </a:lnTo>
                  <a:lnTo>
                    <a:pt x="5477" y="83"/>
                  </a:lnTo>
                  <a:lnTo>
                    <a:pt x="5448" y="76"/>
                  </a:lnTo>
                  <a:lnTo>
                    <a:pt x="5420" y="67"/>
                  </a:lnTo>
                  <a:lnTo>
                    <a:pt x="5392" y="57"/>
                  </a:lnTo>
                  <a:lnTo>
                    <a:pt x="5366" y="48"/>
                  </a:lnTo>
                  <a:lnTo>
                    <a:pt x="5341" y="38"/>
                  </a:lnTo>
                  <a:lnTo>
                    <a:pt x="5318" y="27"/>
                  </a:lnTo>
                  <a:lnTo>
                    <a:pt x="5296" y="15"/>
                  </a:lnTo>
                  <a:lnTo>
                    <a:pt x="5296" y="15"/>
                  </a:lnTo>
                  <a:lnTo>
                    <a:pt x="5274" y="27"/>
                  </a:lnTo>
                  <a:lnTo>
                    <a:pt x="5250" y="38"/>
                  </a:lnTo>
                  <a:lnTo>
                    <a:pt x="5225" y="48"/>
                  </a:lnTo>
                  <a:lnTo>
                    <a:pt x="5199" y="57"/>
                  </a:lnTo>
                  <a:lnTo>
                    <a:pt x="5171" y="67"/>
                  </a:lnTo>
                  <a:lnTo>
                    <a:pt x="5143" y="76"/>
                  </a:lnTo>
                  <a:lnTo>
                    <a:pt x="5115" y="83"/>
                  </a:lnTo>
                  <a:lnTo>
                    <a:pt x="5084" y="90"/>
                  </a:lnTo>
                  <a:lnTo>
                    <a:pt x="5053" y="97"/>
                  </a:lnTo>
                  <a:lnTo>
                    <a:pt x="5021" y="102"/>
                  </a:lnTo>
                  <a:lnTo>
                    <a:pt x="4987" y="107"/>
                  </a:lnTo>
                  <a:lnTo>
                    <a:pt x="4954" y="112"/>
                  </a:lnTo>
                  <a:lnTo>
                    <a:pt x="4920" y="114"/>
                  </a:lnTo>
                  <a:lnTo>
                    <a:pt x="4885" y="117"/>
                  </a:lnTo>
                  <a:lnTo>
                    <a:pt x="4849" y="118"/>
                  </a:lnTo>
                  <a:lnTo>
                    <a:pt x="4813" y="118"/>
                  </a:lnTo>
                  <a:lnTo>
                    <a:pt x="4813" y="118"/>
                  </a:lnTo>
                  <a:lnTo>
                    <a:pt x="4776" y="118"/>
                  </a:lnTo>
                  <a:lnTo>
                    <a:pt x="4741" y="117"/>
                  </a:lnTo>
                  <a:lnTo>
                    <a:pt x="4705" y="114"/>
                  </a:lnTo>
                  <a:lnTo>
                    <a:pt x="4672" y="112"/>
                  </a:lnTo>
                  <a:lnTo>
                    <a:pt x="4638" y="107"/>
                  </a:lnTo>
                  <a:lnTo>
                    <a:pt x="4605" y="102"/>
                  </a:lnTo>
                  <a:lnTo>
                    <a:pt x="4573" y="97"/>
                  </a:lnTo>
                  <a:lnTo>
                    <a:pt x="4541" y="90"/>
                  </a:lnTo>
                  <a:lnTo>
                    <a:pt x="4512" y="83"/>
                  </a:lnTo>
                  <a:lnTo>
                    <a:pt x="4482" y="76"/>
                  </a:lnTo>
                  <a:lnTo>
                    <a:pt x="4454" y="67"/>
                  </a:lnTo>
                  <a:lnTo>
                    <a:pt x="4427" y="57"/>
                  </a:lnTo>
                  <a:lnTo>
                    <a:pt x="4400" y="48"/>
                  </a:lnTo>
                  <a:lnTo>
                    <a:pt x="4375" y="38"/>
                  </a:lnTo>
                  <a:lnTo>
                    <a:pt x="4351" y="27"/>
                  </a:lnTo>
                  <a:lnTo>
                    <a:pt x="4330" y="15"/>
                  </a:lnTo>
                  <a:lnTo>
                    <a:pt x="4330" y="15"/>
                  </a:lnTo>
                  <a:lnTo>
                    <a:pt x="4308" y="27"/>
                  </a:lnTo>
                  <a:lnTo>
                    <a:pt x="4284" y="38"/>
                  </a:lnTo>
                  <a:lnTo>
                    <a:pt x="4259" y="48"/>
                  </a:lnTo>
                  <a:lnTo>
                    <a:pt x="4233" y="57"/>
                  </a:lnTo>
                  <a:lnTo>
                    <a:pt x="4206" y="67"/>
                  </a:lnTo>
                  <a:lnTo>
                    <a:pt x="4177" y="76"/>
                  </a:lnTo>
                  <a:lnTo>
                    <a:pt x="4148" y="83"/>
                  </a:lnTo>
                  <a:lnTo>
                    <a:pt x="4117" y="90"/>
                  </a:lnTo>
                  <a:lnTo>
                    <a:pt x="4087" y="97"/>
                  </a:lnTo>
                  <a:lnTo>
                    <a:pt x="4054" y="102"/>
                  </a:lnTo>
                  <a:lnTo>
                    <a:pt x="4022" y="107"/>
                  </a:lnTo>
                  <a:lnTo>
                    <a:pt x="3988" y="112"/>
                  </a:lnTo>
                  <a:lnTo>
                    <a:pt x="3953" y="114"/>
                  </a:lnTo>
                  <a:lnTo>
                    <a:pt x="3918" y="117"/>
                  </a:lnTo>
                  <a:lnTo>
                    <a:pt x="3883" y="118"/>
                  </a:lnTo>
                  <a:lnTo>
                    <a:pt x="3846" y="118"/>
                  </a:lnTo>
                  <a:lnTo>
                    <a:pt x="3846" y="118"/>
                  </a:lnTo>
                  <a:lnTo>
                    <a:pt x="3810" y="118"/>
                  </a:lnTo>
                  <a:lnTo>
                    <a:pt x="3774" y="117"/>
                  </a:lnTo>
                  <a:lnTo>
                    <a:pt x="3739" y="114"/>
                  </a:lnTo>
                  <a:lnTo>
                    <a:pt x="3706" y="112"/>
                  </a:lnTo>
                  <a:lnTo>
                    <a:pt x="3672" y="107"/>
                  </a:lnTo>
                  <a:lnTo>
                    <a:pt x="3638" y="102"/>
                  </a:lnTo>
                  <a:lnTo>
                    <a:pt x="3607" y="97"/>
                  </a:lnTo>
                  <a:lnTo>
                    <a:pt x="3575" y="90"/>
                  </a:lnTo>
                  <a:lnTo>
                    <a:pt x="3545" y="83"/>
                  </a:lnTo>
                  <a:lnTo>
                    <a:pt x="3515" y="76"/>
                  </a:lnTo>
                  <a:lnTo>
                    <a:pt x="3488" y="67"/>
                  </a:lnTo>
                  <a:lnTo>
                    <a:pt x="3461" y="57"/>
                  </a:lnTo>
                  <a:lnTo>
                    <a:pt x="3435" y="48"/>
                  </a:lnTo>
                  <a:lnTo>
                    <a:pt x="3410" y="38"/>
                  </a:lnTo>
                  <a:lnTo>
                    <a:pt x="3386" y="27"/>
                  </a:lnTo>
                  <a:lnTo>
                    <a:pt x="3364" y="15"/>
                  </a:lnTo>
                  <a:lnTo>
                    <a:pt x="3364" y="15"/>
                  </a:lnTo>
                  <a:lnTo>
                    <a:pt x="3341" y="27"/>
                  </a:lnTo>
                  <a:lnTo>
                    <a:pt x="3318" y="38"/>
                  </a:lnTo>
                  <a:lnTo>
                    <a:pt x="3293" y="48"/>
                  </a:lnTo>
                  <a:lnTo>
                    <a:pt x="3267" y="57"/>
                  </a:lnTo>
                  <a:lnTo>
                    <a:pt x="3240" y="67"/>
                  </a:lnTo>
                  <a:lnTo>
                    <a:pt x="3211" y="76"/>
                  </a:lnTo>
                  <a:lnTo>
                    <a:pt x="3182" y="83"/>
                  </a:lnTo>
                  <a:lnTo>
                    <a:pt x="3151" y="90"/>
                  </a:lnTo>
                  <a:lnTo>
                    <a:pt x="3121" y="97"/>
                  </a:lnTo>
                  <a:lnTo>
                    <a:pt x="3088" y="102"/>
                  </a:lnTo>
                  <a:lnTo>
                    <a:pt x="3056" y="107"/>
                  </a:lnTo>
                  <a:lnTo>
                    <a:pt x="3022" y="112"/>
                  </a:lnTo>
                  <a:lnTo>
                    <a:pt x="2987" y="114"/>
                  </a:lnTo>
                  <a:lnTo>
                    <a:pt x="2952" y="117"/>
                  </a:lnTo>
                  <a:lnTo>
                    <a:pt x="2916" y="118"/>
                  </a:lnTo>
                  <a:lnTo>
                    <a:pt x="2880" y="118"/>
                  </a:lnTo>
                  <a:lnTo>
                    <a:pt x="2880" y="118"/>
                  </a:lnTo>
                  <a:lnTo>
                    <a:pt x="2844" y="118"/>
                  </a:lnTo>
                  <a:lnTo>
                    <a:pt x="2808" y="117"/>
                  </a:lnTo>
                  <a:lnTo>
                    <a:pt x="2774" y="114"/>
                  </a:lnTo>
                  <a:lnTo>
                    <a:pt x="2739" y="112"/>
                  </a:lnTo>
                  <a:lnTo>
                    <a:pt x="2705" y="107"/>
                  </a:lnTo>
                  <a:lnTo>
                    <a:pt x="2672" y="102"/>
                  </a:lnTo>
                  <a:lnTo>
                    <a:pt x="2641" y="97"/>
                  </a:lnTo>
                  <a:lnTo>
                    <a:pt x="2609" y="90"/>
                  </a:lnTo>
                  <a:lnTo>
                    <a:pt x="2579" y="83"/>
                  </a:lnTo>
                  <a:lnTo>
                    <a:pt x="2549" y="76"/>
                  </a:lnTo>
                  <a:lnTo>
                    <a:pt x="2521" y="67"/>
                  </a:lnTo>
                  <a:lnTo>
                    <a:pt x="2494" y="57"/>
                  </a:lnTo>
                  <a:lnTo>
                    <a:pt x="2468" y="48"/>
                  </a:lnTo>
                  <a:lnTo>
                    <a:pt x="2444" y="38"/>
                  </a:lnTo>
                  <a:lnTo>
                    <a:pt x="2420" y="27"/>
                  </a:lnTo>
                  <a:lnTo>
                    <a:pt x="2398" y="15"/>
                  </a:lnTo>
                  <a:lnTo>
                    <a:pt x="2398" y="15"/>
                  </a:lnTo>
                  <a:lnTo>
                    <a:pt x="2375" y="27"/>
                  </a:lnTo>
                  <a:lnTo>
                    <a:pt x="2351" y="38"/>
                  </a:lnTo>
                  <a:lnTo>
                    <a:pt x="2327" y="48"/>
                  </a:lnTo>
                  <a:lnTo>
                    <a:pt x="2301" y="57"/>
                  </a:lnTo>
                  <a:lnTo>
                    <a:pt x="2274" y="67"/>
                  </a:lnTo>
                  <a:lnTo>
                    <a:pt x="2245" y="76"/>
                  </a:lnTo>
                  <a:lnTo>
                    <a:pt x="2216" y="83"/>
                  </a:lnTo>
                  <a:lnTo>
                    <a:pt x="2186" y="90"/>
                  </a:lnTo>
                  <a:lnTo>
                    <a:pt x="2154" y="97"/>
                  </a:lnTo>
                  <a:lnTo>
                    <a:pt x="2122" y="102"/>
                  </a:lnTo>
                  <a:lnTo>
                    <a:pt x="2090" y="107"/>
                  </a:lnTo>
                  <a:lnTo>
                    <a:pt x="2056" y="112"/>
                  </a:lnTo>
                  <a:lnTo>
                    <a:pt x="2021" y="114"/>
                  </a:lnTo>
                  <a:lnTo>
                    <a:pt x="1986" y="117"/>
                  </a:lnTo>
                  <a:lnTo>
                    <a:pt x="1950" y="118"/>
                  </a:lnTo>
                  <a:lnTo>
                    <a:pt x="1914" y="118"/>
                  </a:lnTo>
                  <a:lnTo>
                    <a:pt x="1914" y="118"/>
                  </a:lnTo>
                  <a:lnTo>
                    <a:pt x="1878" y="118"/>
                  </a:lnTo>
                  <a:lnTo>
                    <a:pt x="1843" y="117"/>
                  </a:lnTo>
                  <a:lnTo>
                    <a:pt x="1808" y="114"/>
                  </a:lnTo>
                  <a:lnTo>
                    <a:pt x="1773" y="112"/>
                  </a:lnTo>
                  <a:lnTo>
                    <a:pt x="1739" y="107"/>
                  </a:lnTo>
                  <a:lnTo>
                    <a:pt x="1706" y="102"/>
                  </a:lnTo>
                  <a:lnTo>
                    <a:pt x="1674" y="97"/>
                  </a:lnTo>
                  <a:lnTo>
                    <a:pt x="1643" y="90"/>
                  </a:lnTo>
                  <a:lnTo>
                    <a:pt x="1613" y="83"/>
                  </a:lnTo>
                  <a:lnTo>
                    <a:pt x="1583" y="76"/>
                  </a:lnTo>
                  <a:lnTo>
                    <a:pt x="1555" y="67"/>
                  </a:lnTo>
                  <a:lnTo>
                    <a:pt x="1528" y="57"/>
                  </a:lnTo>
                  <a:lnTo>
                    <a:pt x="1502" y="48"/>
                  </a:lnTo>
                  <a:lnTo>
                    <a:pt x="1477" y="38"/>
                  </a:lnTo>
                  <a:lnTo>
                    <a:pt x="1454" y="27"/>
                  </a:lnTo>
                  <a:lnTo>
                    <a:pt x="1431" y="15"/>
                  </a:lnTo>
                  <a:lnTo>
                    <a:pt x="1431" y="15"/>
                  </a:lnTo>
                  <a:lnTo>
                    <a:pt x="1409" y="27"/>
                  </a:lnTo>
                  <a:lnTo>
                    <a:pt x="1385" y="38"/>
                  </a:lnTo>
                  <a:lnTo>
                    <a:pt x="1360" y="48"/>
                  </a:lnTo>
                  <a:lnTo>
                    <a:pt x="1334" y="57"/>
                  </a:lnTo>
                  <a:lnTo>
                    <a:pt x="1308" y="67"/>
                  </a:lnTo>
                  <a:lnTo>
                    <a:pt x="1280" y="76"/>
                  </a:lnTo>
                  <a:lnTo>
                    <a:pt x="1250" y="83"/>
                  </a:lnTo>
                  <a:lnTo>
                    <a:pt x="1220" y="90"/>
                  </a:lnTo>
                  <a:lnTo>
                    <a:pt x="1188" y="97"/>
                  </a:lnTo>
                  <a:lnTo>
                    <a:pt x="1156" y="102"/>
                  </a:lnTo>
                  <a:lnTo>
                    <a:pt x="1123" y="107"/>
                  </a:lnTo>
                  <a:lnTo>
                    <a:pt x="1089" y="112"/>
                  </a:lnTo>
                  <a:lnTo>
                    <a:pt x="1055" y="114"/>
                  </a:lnTo>
                  <a:lnTo>
                    <a:pt x="1020" y="117"/>
                  </a:lnTo>
                  <a:lnTo>
                    <a:pt x="984" y="118"/>
                  </a:lnTo>
                  <a:lnTo>
                    <a:pt x="948" y="118"/>
                  </a:lnTo>
                  <a:lnTo>
                    <a:pt x="948" y="118"/>
                  </a:lnTo>
                  <a:lnTo>
                    <a:pt x="911" y="118"/>
                  </a:lnTo>
                  <a:lnTo>
                    <a:pt x="877" y="117"/>
                  </a:lnTo>
                  <a:lnTo>
                    <a:pt x="841" y="114"/>
                  </a:lnTo>
                  <a:lnTo>
                    <a:pt x="807" y="112"/>
                  </a:lnTo>
                  <a:lnTo>
                    <a:pt x="773" y="107"/>
                  </a:lnTo>
                  <a:lnTo>
                    <a:pt x="740" y="102"/>
                  </a:lnTo>
                  <a:lnTo>
                    <a:pt x="708" y="97"/>
                  </a:lnTo>
                  <a:lnTo>
                    <a:pt x="677" y="90"/>
                  </a:lnTo>
                  <a:lnTo>
                    <a:pt x="647" y="83"/>
                  </a:lnTo>
                  <a:lnTo>
                    <a:pt x="617" y="76"/>
                  </a:lnTo>
                  <a:lnTo>
                    <a:pt x="589" y="67"/>
                  </a:lnTo>
                  <a:lnTo>
                    <a:pt x="562" y="57"/>
                  </a:lnTo>
                  <a:lnTo>
                    <a:pt x="536" y="48"/>
                  </a:lnTo>
                  <a:lnTo>
                    <a:pt x="511" y="38"/>
                  </a:lnTo>
                  <a:lnTo>
                    <a:pt x="487" y="27"/>
                  </a:lnTo>
                  <a:lnTo>
                    <a:pt x="465" y="15"/>
                  </a:lnTo>
                  <a:lnTo>
                    <a:pt x="465" y="15"/>
                  </a:lnTo>
                  <a:lnTo>
                    <a:pt x="443" y="26"/>
                  </a:lnTo>
                  <a:lnTo>
                    <a:pt x="420" y="37"/>
                  </a:lnTo>
                  <a:lnTo>
                    <a:pt x="396" y="46"/>
                  </a:lnTo>
                  <a:lnTo>
                    <a:pt x="371" y="56"/>
                  </a:lnTo>
                  <a:lnTo>
                    <a:pt x="345" y="65"/>
                  </a:lnTo>
                  <a:lnTo>
                    <a:pt x="318" y="74"/>
                  </a:lnTo>
                  <a:lnTo>
                    <a:pt x="290" y="81"/>
                  </a:lnTo>
                  <a:lnTo>
                    <a:pt x="261" y="89"/>
                  </a:lnTo>
                  <a:lnTo>
                    <a:pt x="231" y="94"/>
                  </a:lnTo>
                  <a:lnTo>
                    <a:pt x="200" y="101"/>
                  </a:lnTo>
                  <a:lnTo>
                    <a:pt x="169" y="105"/>
                  </a:lnTo>
                  <a:lnTo>
                    <a:pt x="136" y="110"/>
                  </a:lnTo>
                  <a:lnTo>
                    <a:pt x="103" y="113"/>
                  </a:lnTo>
                  <a:lnTo>
                    <a:pt x="70" y="115"/>
                  </a:lnTo>
                  <a:lnTo>
                    <a:pt x="35" y="117"/>
                  </a:lnTo>
                  <a:lnTo>
                    <a:pt x="0" y="118"/>
                  </a:lnTo>
                  <a:lnTo>
                    <a:pt x="0" y="884"/>
                  </a:lnTo>
                  <a:lnTo>
                    <a:pt x="6266" y="884"/>
                  </a:lnTo>
                  <a:lnTo>
                    <a:pt x="6288" y="884"/>
                  </a:lnTo>
                  <a:lnTo>
                    <a:pt x="13071" y="884"/>
                  </a:lnTo>
                  <a:lnTo>
                    <a:pt x="13071" y="884"/>
                  </a:lnTo>
                  <a:lnTo>
                    <a:pt x="19855" y="884"/>
                  </a:lnTo>
                  <a:lnTo>
                    <a:pt x="19876" y="884"/>
                  </a:lnTo>
                  <a:lnTo>
                    <a:pt x="26124" y="884"/>
                  </a:lnTo>
                  <a:lnTo>
                    <a:pt x="26124" y="118"/>
                  </a:lnTo>
                  <a:lnTo>
                    <a:pt x="26124" y="118"/>
                  </a:lnTo>
                  <a:lnTo>
                    <a:pt x="26089" y="117"/>
                  </a:lnTo>
                  <a:lnTo>
                    <a:pt x="26056" y="115"/>
                  </a:lnTo>
                  <a:lnTo>
                    <a:pt x="26023" y="112"/>
                  </a:lnTo>
                  <a:lnTo>
                    <a:pt x="25991" y="108"/>
                  </a:lnTo>
                  <a:lnTo>
                    <a:pt x="25958" y="104"/>
                  </a:lnTo>
                  <a:lnTo>
                    <a:pt x="25928" y="100"/>
                  </a:lnTo>
                  <a:lnTo>
                    <a:pt x="25897" y="94"/>
                  </a:lnTo>
                  <a:lnTo>
                    <a:pt x="25868" y="88"/>
                  </a:lnTo>
                  <a:lnTo>
                    <a:pt x="25840" y="80"/>
                  </a:lnTo>
                  <a:lnTo>
                    <a:pt x="25813" y="73"/>
                  </a:lnTo>
                  <a:lnTo>
                    <a:pt x="25785" y="65"/>
                  </a:lnTo>
                  <a:lnTo>
                    <a:pt x="25759" y="56"/>
                  </a:lnTo>
                  <a:lnTo>
                    <a:pt x="25735" y="46"/>
                  </a:lnTo>
                  <a:lnTo>
                    <a:pt x="25711" y="37"/>
                  </a:lnTo>
                  <a:lnTo>
                    <a:pt x="25690" y="26"/>
                  </a:lnTo>
                  <a:lnTo>
                    <a:pt x="25668" y="15"/>
                  </a:lnTo>
                  <a:lnTo>
                    <a:pt x="25668" y="15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563488" y="2861662"/>
              <a:ext cx="7122411" cy="3996337"/>
            </a:xfrm>
            <a:custGeom>
              <a:avLst/>
              <a:gdLst>
                <a:gd name="T0" fmla="*/ 25818 w 26124"/>
                <a:gd name="T1" fmla="*/ 113 h 14658"/>
                <a:gd name="T2" fmla="*/ 25367 w 26124"/>
                <a:gd name="T3" fmla="*/ 76 h 14658"/>
                <a:gd name="T4" fmla="*/ 25002 w 26124"/>
                <a:gd name="T5" fmla="*/ 90 h 14658"/>
                <a:gd name="T6" fmla="*/ 24523 w 26124"/>
                <a:gd name="T7" fmla="*/ 102 h 14658"/>
                <a:gd name="T8" fmla="*/ 24152 w 26124"/>
                <a:gd name="T9" fmla="*/ 57 h 14658"/>
                <a:gd name="T10" fmla="*/ 23693 w 26124"/>
                <a:gd name="T11" fmla="*/ 117 h 14658"/>
                <a:gd name="T12" fmla="*/ 23282 w 26124"/>
                <a:gd name="T13" fmla="*/ 15 h 14658"/>
                <a:gd name="T14" fmla="*/ 22835 w 26124"/>
                <a:gd name="T15" fmla="*/ 118 h 14658"/>
                <a:gd name="T16" fmla="*/ 22387 w 26124"/>
                <a:gd name="T17" fmla="*/ 48 h 14658"/>
                <a:gd name="T18" fmla="*/ 22008 w 26124"/>
                <a:gd name="T19" fmla="*/ 107 h 14658"/>
                <a:gd name="T20" fmla="*/ 21532 w 26124"/>
                <a:gd name="T21" fmla="*/ 83 h 14658"/>
                <a:gd name="T22" fmla="*/ 21168 w 26124"/>
                <a:gd name="T23" fmla="*/ 83 h 14658"/>
                <a:gd name="T24" fmla="*/ 20692 w 26124"/>
                <a:gd name="T25" fmla="*/ 107 h 14658"/>
                <a:gd name="T26" fmla="*/ 20313 w 26124"/>
                <a:gd name="T27" fmla="*/ 48 h 14658"/>
                <a:gd name="T28" fmla="*/ 19865 w 26124"/>
                <a:gd name="T29" fmla="*/ 118 h 14658"/>
                <a:gd name="T30" fmla="*/ 19423 w 26124"/>
                <a:gd name="T31" fmla="*/ 17 h 14658"/>
                <a:gd name="T32" fmla="*/ 19188 w 26124"/>
                <a:gd name="T33" fmla="*/ 90 h 14658"/>
                <a:gd name="T34" fmla="*/ 18706 w 26124"/>
                <a:gd name="T35" fmla="*/ 102 h 14658"/>
                <a:gd name="T36" fmla="*/ 18335 w 26124"/>
                <a:gd name="T37" fmla="*/ 57 h 14658"/>
                <a:gd name="T38" fmla="*/ 17876 w 26124"/>
                <a:gd name="T39" fmla="*/ 117 h 14658"/>
                <a:gd name="T40" fmla="*/ 17465 w 26124"/>
                <a:gd name="T41" fmla="*/ 15 h 14658"/>
                <a:gd name="T42" fmla="*/ 17018 w 26124"/>
                <a:gd name="T43" fmla="*/ 118 h 14658"/>
                <a:gd name="T44" fmla="*/ 16570 w 26124"/>
                <a:gd name="T45" fmla="*/ 48 h 14658"/>
                <a:gd name="T46" fmla="*/ 16191 w 26124"/>
                <a:gd name="T47" fmla="*/ 107 h 14658"/>
                <a:gd name="T48" fmla="*/ 15714 w 26124"/>
                <a:gd name="T49" fmla="*/ 83 h 14658"/>
                <a:gd name="T50" fmla="*/ 15351 w 26124"/>
                <a:gd name="T51" fmla="*/ 83 h 14658"/>
                <a:gd name="T52" fmla="*/ 14874 w 26124"/>
                <a:gd name="T53" fmla="*/ 107 h 14658"/>
                <a:gd name="T54" fmla="*/ 14496 w 26124"/>
                <a:gd name="T55" fmla="*/ 48 h 14658"/>
                <a:gd name="T56" fmla="*/ 14048 w 26124"/>
                <a:gd name="T57" fmla="*/ 118 h 14658"/>
                <a:gd name="T58" fmla="*/ 13600 w 26124"/>
                <a:gd name="T59" fmla="*/ 15 h 14658"/>
                <a:gd name="T60" fmla="*/ 13189 w 26124"/>
                <a:gd name="T61" fmla="*/ 117 h 14658"/>
                <a:gd name="T62" fmla="*/ 12716 w 26124"/>
                <a:gd name="T63" fmla="*/ 52 h 14658"/>
                <a:gd name="T64" fmla="*/ 12366 w 26124"/>
                <a:gd name="T65" fmla="*/ 93 h 14658"/>
                <a:gd name="T66" fmla="*/ 11870 w 26124"/>
                <a:gd name="T67" fmla="*/ 97 h 14658"/>
                <a:gd name="T68" fmla="*/ 11503 w 26124"/>
                <a:gd name="T69" fmla="*/ 67 h 14658"/>
                <a:gd name="T70" fmla="*/ 11037 w 26124"/>
                <a:gd name="T71" fmla="*/ 114 h 14658"/>
                <a:gd name="T72" fmla="*/ 10638 w 26124"/>
                <a:gd name="T73" fmla="*/ 27 h 14658"/>
                <a:gd name="T74" fmla="*/ 10177 w 26124"/>
                <a:gd name="T75" fmla="*/ 118 h 14658"/>
                <a:gd name="T76" fmla="*/ 9740 w 26124"/>
                <a:gd name="T77" fmla="*/ 38 h 14658"/>
                <a:gd name="T78" fmla="*/ 9352 w 26124"/>
                <a:gd name="T79" fmla="*/ 112 h 14658"/>
                <a:gd name="T80" fmla="*/ 8880 w 26124"/>
                <a:gd name="T81" fmla="*/ 76 h 14658"/>
                <a:gd name="T82" fmla="*/ 8516 w 26124"/>
                <a:gd name="T83" fmla="*/ 90 h 14658"/>
                <a:gd name="T84" fmla="*/ 8036 w 26124"/>
                <a:gd name="T85" fmla="*/ 102 h 14658"/>
                <a:gd name="T86" fmla="*/ 7665 w 26124"/>
                <a:gd name="T87" fmla="*/ 57 h 14658"/>
                <a:gd name="T88" fmla="*/ 7207 w 26124"/>
                <a:gd name="T89" fmla="*/ 117 h 14658"/>
                <a:gd name="T90" fmla="*/ 6795 w 26124"/>
                <a:gd name="T91" fmla="*/ 15 h 14658"/>
                <a:gd name="T92" fmla="*/ 6349 w 26124"/>
                <a:gd name="T93" fmla="*/ 118 h 14658"/>
                <a:gd name="T94" fmla="*/ 5904 w 26124"/>
                <a:gd name="T95" fmla="*/ 50 h 14658"/>
                <a:gd name="T96" fmla="*/ 5689 w 26124"/>
                <a:gd name="T97" fmla="*/ 66 h 14658"/>
                <a:gd name="T98" fmla="*/ 5219 w 26124"/>
                <a:gd name="T99" fmla="*/ 114 h 14658"/>
                <a:gd name="T100" fmla="*/ 4821 w 26124"/>
                <a:gd name="T101" fmla="*/ 27 h 14658"/>
                <a:gd name="T102" fmla="*/ 4359 w 26124"/>
                <a:gd name="T103" fmla="*/ 118 h 14658"/>
                <a:gd name="T104" fmla="*/ 3922 w 26124"/>
                <a:gd name="T105" fmla="*/ 38 h 14658"/>
                <a:gd name="T106" fmla="*/ 3535 w 26124"/>
                <a:gd name="T107" fmla="*/ 112 h 14658"/>
                <a:gd name="T108" fmla="*/ 3062 w 26124"/>
                <a:gd name="T109" fmla="*/ 76 h 14658"/>
                <a:gd name="T110" fmla="*/ 2698 w 26124"/>
                <a:gd name="T111" fmla="*/ 90 h 14658"/>
                <a:gd name="T112" fmla="*/ 2219 w 26124"/>
                <a:gd name="T113" fmla="*/ 102 h 14658"/>
                <a:gd name="T114" fmla="*/ 1848 w 26124"/>
                <a:gd name="T115" fmla="*/ 57 h 14658"/>
                <a:gd name="T116" fmla="*/ 1390 w 26124"/>
                <a:gd name="T117" fmla="*/ 117 h 14658"/>
                <a:gd name="T118" fmla="*/ 978 w 26124"/>
                <a:gd name="T119" fmla="*/ 15 h 14658"/>
                <a:gd name="T120" fmla="*/ 531 w 26124"/>
                <a:gd name="T121" fmla="*/ 118 h 14658"/>
                <a:gd name="T122" fmla="*/ 83 w 26124"/>
                <a:gd name="T123" fmla="*/ 48 h 14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124" h="14658">
                  <a:moveTo>
                    <a:pt x="26124" y="14658"/>
                  </a:moveTo>
                  <a:lnTo>
                    <a:pt x="26124" y="42"/>
                  </a:lnTo>
                  <a:lnTo>
                    <a:pt x="26124" y="42"/>
                  </a:lnTo>
                  <a:lnTo>
                    <a:pt x="26102" y="51"/>
                  </a:lnTo>
                  <a:lnTo>
                    <a:pt x="26080" y="58"/>
                  </a:lnTo>
                  <a:lnTo>
                    <a:pt x="26056" y="66"/>
                  </a:lnTo>
                  <a:lnTo>
                    <a:pt x="26033" y="74"/>
                  </a:lnTo>
                  <a:lnTo>
                    <a:pt x="26009" y="80"/>
                  </a:lnTo>
                  <a:lnTo>
                    <a:pt x="25984" y="87"/>
                  </a:lnTo>
                  <a:lnTo>
                    <a:pt x="25957" y="93"/>
                  </a:lnTo>
                  <a:lnTo>
                    <a:pt x="25930" y="98"/>
                  </a:lnTo>
                  <a:lnTo>
                    <a:pt x="25903" y="103"/>
                  </a:lnTo>
                  <a:lnTo>
                    <a:pt x="25876" y="106"/>
                  </a:lnTo>
                  <a:lnTo>
                    <a:pt x="25847" y="111"/>
                  </a:lnTo>
                  <a:lnTo>
                    <a:pt x="25818" y="113"/>
                  </a:lnTo>
                  <a:lnTo>
                    <a:pt x="25789" y="116"/>
                  </a:lnTo>
                  <a:lnTo>
                    <a:pt x="25759" y="117"/>
                  </a:lnTo>
                  <a:lnTo>
                    <a:pt x="25729" y="118"/>
                  </a:lnTo>
                  <a:lnTo>
                    <a:pt x="25698" y="118"/>
                  </a:lnTo>
                  <a:lnTo>
                    <a:pt x="25698" y="118"/>
                  </a:lnTo>
                  <a:lnTo>
                    <a:pt x="25661" y="118"/>
                  </a:lnTo>
                  <a:lnTo>
                    <a:pt x="25626" y="117"/>
                  </a:lnTo>
                  <a:lnTo>
                    <a:pt x="25590" y="114"/>
                  </a:lnTo>
                  <a:lnTo>
                    <a:pt x="25557" y="112"/>
                  </a:lnTo>
                  <a:lnTo>
                    <a:pt x="25523" y="107"/>
                  </a:lnTo>
                  <a:lnTo>
                    <a:pt x="25490" y="102"/>
                  </a:lnTo>
                  <a:lnTo>
                    <a:pt x="25458" y="97"/>
                  </a:lnTo>
                  <a:lnTo>
                    <a:pt x="25426" y="90"/>
                  </a:lnTo>
                  <a:lnTo>
                    <a:pt x="25397" y="83"/>
                  </a:lnTo>
                  <a:lnTo>
                    <a:pt x="25367" y="76"/>
                  </a:lnTo>
                  <a:lnTo>
                    <a:pt x="25339" y="67"/>
                  </a:lnTo>
                  <a:lnTo>
                    <a:pt x="25312" y="57"/>
                  </a:lnTo>
                  <a:lnTo>
                    <a:pt x="25286" y="48"/>
                  </a:lnTo>
                  <a:lnTo>
                    <a:pt x="25260" y="38"/>
                  </a:lnTo>
                  <a:lnTo>
                    <a:pt x="25237" y="27"/>
                  </a:lnTo>
                  <a:lnTo>
                    <a:pt x="25215" y="15"/>
                  </a:lnTo>
                  <a:lnTo>
                    <a:pt x="25215" y="15"/>
                  </a:lnTo>
                  <a:lnTo>
                    <a:pt x="25192" y="27"/>
                  </a:lnTo>
                  <a:lnTo>
                    <a:pt x="25169" y="38"/>
                  </a:lnTo>
                  <a:lnTo>
                    <a:pt x="25144" y="48"/>
                  </a:lnTo>
                  <a:lnTo>
                    <a:pt x="25118" y="57"/>
                  </a:lnTo>
                  <a:lnTo>
                    <a:pt x="25091" y="67"/>
                  </a:lnTo>
                  <a:lnTo>
                    <a:pt x="25062" y="76"/>
                  </a:lnTo>
                  <a:lnTo>
                    <a:pt x="25033" y="83"/>
                  </a:lnTo>
                  <a:lnTo>
                    <a:pt x="25002" y="90"/>
                  </a:lnTo>
                  <a:lnTo>
                    <a:pt x="24972" y="97"/>
                  </a:lnTo>
                  <a:lnTo>
                    <a:pt x="24939" y="102"/>
                  </a:lnTo>
                  <a:lnTo>
                    <a:pt x="24907" y="107"/>
                  </a:lnTo>
                  <a:lnTo>
                    <a:pt x="24873" y="112"/>
                  </a:lnTo>
                  <a:lnTo>
                    <a:pt x="24838" y="114"/>
                  </a:lnTo>
                  <a:lnTo>
                    <a:pt x="24803" y="117"/>
                  </a:lnTo>
                  <a:lnTo>
                    <a:pt x="24768" y="118"/>
                  </a:lnTo>
                  <a:lnTo>
                    <a:pt x="24731" y="118"/>
                  </a:lnTo>
                  <a:lnTo>
                    <a:pt x="24731" y="118"/>
                  </a:lnTo>
                  <a:lnTo>
                    <a:pt x="24695" y="118"/>
                  </a:lnTo>
                  <a:lnTo>
                    <a:pt x="24659" y="117"/>
                  </a:lnTo>
                  <a:lnTo>
                    <a:pt x="24625" y="114"/>
                  </a:lnTo>
                  <a:lnTo>
                    <a:pt x="24591" y="112"/>
                  </a:lnTo>
                  <a:lnTo>
                    <a:pt x="24557" y="107"/>
                  </a:lnTo>
                  <a:lnTo>
                    <a:pt x="24523" y="102"/>
                  </a:lnTo>
                  <a:lnTo>
                    <a:pt x="24492" y="97"/>
                  </a:lnTo>
                  <a:lnTo>
                    <a:pt x="24460" y="90"/>
                  </a:lnTo>
                  <a:lnTo>
                    <a:pt x="24430" y="83"/>
                  </a:lnTo>
                  <a:lnTo>
                    <a:pt x="24400" y="76"/>
                  </a:lnTo>
                  <a:lnTo>
                    <a:pt x="24372" y="67"/>
                  </a:lnTo>
                  <a:lnTo>
                    <a:pt x="24346" y="57"/>
                  </a:lnTo>
                  <a:lnTo>
                    <a:pt x="24320" y="48"/>
                  </a:lnTo>
                  <a:lnTo>
                    <a:pt x="24295" y="38"/>
                  </a:lnTo>
                  <a:lnTo>
                    <a:pt x="24271" y="27"/>
                  </a:lnTo>
                  <a:lnTo>
                    <a:pt x="24249" y="15"/>
                  </a:lnTo>
                  <a:lnTo>
                    <a:pt x="24249" y="15"/>
                  </a:lnTo>
                  <a:lnTo>
                    <a:pt x="24226" y="27"/>
                  </a:lnTo>
                  <a:lnTo>
                    <a:pt x="24203" y="38"/>
                  </a:lnTo>
                  <a:lnTo>
                    <a:pt x="24178" y="48"/>
                  </a:lnTo>
                  <a:lnTo>
                    <a:pt x="24152" y="57"/>
                  </a:lnTo>
                  <a:lnTo>
                    <a:pt x="24125" y="67"/>
                  </a:lnTo>
                  <a:lnTo>
                    <a:pt x="24096" y="76"/>
                  </a:lnTo>
                  <a:lnTo>
                    <a:pt x="24067" y="83"/>
                  </a:lnTo>
                  <a:lnTo>
                    <a:pt x="24036" y="90"/>
                  </a:lnTo>
                  <a:lnTo>
                    <a:pt x="24006" y="97"/>
                  </a:lnTo>
                  <a:lnTo>
                    <a:pt x="23973" y="102"/>
                  </a:lnTo>
                  <a:lnTo>
                    <a:pt x="23941" y="107"/>
                  </a:lnTo>
                  <a:lnTo>
                    <a:pt x="23907" y="112"/>
                  </a:lnTo>
                  <a:lnTo>
                    <a:pt x="23872" y="114"/>
                  </a:lnTo>
                  <a:lnTo>
                    <a:pt x="23837" y="117"/>
                  </a:lnTo>
                  <a:lnTo>
                    <a:pt x="23801" y="118"/>
                  </a:lnTo>
                  <a:lnTo>
                    <a:pt x="23765" y="118"/>
                  </a:lnTo>
                  <a:lnTo>
                    <a:pt x="23765" y="118"/>
                  </a:lnTo>
                  <a:lnTo>
                    <a:pt x="23729" y="118"/>
                  </a:lnTo>
                  <a:lnTo>
                    <a:pt x="23693" y="117"/>
                  </a:lnTo>
                  <a:lnTo>
                    <a:pt x="23659" y="114"/>
                  </a:lnTo>
                  <a:lnTo>
                    <a:pt x="23624" y="112"/>
                  </a:lnTo>
                  <a:lnTo>
                    <a:pt x="23590" y="107"/>
                  </a:lnTo>
                  <a:lnTo>
                    <a:pt x="23557" y="102"/>
                  </a:lnTo>
                  <a:lnTo>
                    <a:pt x="23526" y="97"/>
                  </a:lnTo>
                  <a:lnTo>
                    <a:pt x="23494" y="90"/>
                  </a:lnTo>
                  <a:lnTo>
                    <a:pt x="23464" y="83"/>
                  </a:lnTo>
                  <a:lnTo>
                    <a:pt x="23434" y="76"/>
                  </a:lnTo>
                  <a:lnTo>
                    <a:pt x="23406" y="67"/>
                  </a:lnTo>
                  <a:lnTo>
                    <a:pt x="23379" y="57"/>
                  </a:lnTo>
                  <a:lnTo>
                    <a:pt x="23353" y="48"/>
                  </a:lnTo>
                  <a:lnTo>
                    <a:pt x="23329" y="38"/>
                  </a:lnTo>
                  <a:lnTo>
                    <a:pt x="23305" y="27"/>
                  </a:lnTo>
                  <a:lnTo>
                    <a:pt x="23282" y="15"/>
                  </a:lnTo>
                  <a:lnTo>
                    <a:pt x="23282" y="15"/>
                  </a:lnTo>
                  <a:lnTo>
                    <a:pt x="23260" y="27"/>
                  </a:lnTo>
                  <a:lnTo>
                    <a:pt x="23236" y="38"/>
                  </a:lnTo>
                  <a:lnTo>
                    <a:pt x="23212" y="48"/>
                  </a:lnTo>
                  <a:lnTo>
                    <a:pt x="23186" y="57"/>
                  </a:lnTo>
                  <a:lnTo>
                    <a:pt x="23159" y="67"/>
                  </a:lnTo>
                  <a:lnTo>
                    <a:pt x="23130" y="76"/>
                  </a:lnTo>
                  <a:lnTo>
                    <a:pt x="23101" y="83"/>
                  </a:lnTo>
                  <a:lnTo>
                    <a:pt x="23071" y="90"/>
                  </a:lnTo>
                  <a:lnTo>
                    <a:pt x="23039" y="97"/>
                  </a:lnTo>
                  <a:lnTo>
                    <a:pt x="23007" y="102"/>
                  </a:lnTo>
                  <a:lnTo>
                    <a:pt x="22975" y="107"/>
                  </a:lnTo>
                  <a:lnTo>
                    <a:pt x="22941" y="112"/>
                  </a:lnTo>
                  <a:lnTo>
                    <a:pt x="22906" y="114"/>
                  </a:lnTo>
                  <a:lnTo>
                    <a:pt x="22871" y="117"/>
                  </a:lnTo>
                  <a:lnTo>
                    <a:pt x="22835" y="118"/>
                  </a:lnTo>
                  <a:lnTo>
                    <a:pt x="22799" y="118"/>
                  </a:lnTo>
                  <a:lnTo>
                    <a:pt x="22799" y="118"/>
                  </a:lnTo>
                  <a:lnTo>
                    <a:pt x="22763" y="118"/>
                  </a:lnTo>
                  <a:lnTo>
                    <a:pt x="22728" y="117"/>
                  </a:lnTo>
                  <a:lnTo>
                    <a:pt x="22693" y="114"/>
                  </a:lnTo>
                  <a:lnTo>
                    <a:pt x="22658" y="112"/>
                  </a:lnTo>
                  <a:lnTo>
                    <a:pt x="22624" y="107"/>
                  </a:lnTo>
                  <a:lnTo>
                    <a:pt x="22591" y="102"/>
                  </a:lnTo>
                  <a:lnTo>
                    <a:pt x="22559" y="97"/>
                  </a:lnTo>
                  <a:lnTo>
                    <a:pt x="22528" y="90"/>
                  </a:lnTo>
                  <a:lnTo>
                    <a:pt x="22498" y="83"/>
                  </a:lnTo>
                  <a:lnTo>
                    <a:pt x="22468" y="76"/>
                  </a:lnTo>
                  <a:lnTo>
                    <a:pt x="22440" y="67"/>
                  </a:lnTo>
                  <a:lnTo>
                    <a:pt x="22413" y="57"/>
                  </a:lnTo>
                  <a:lnTo>
                    <a:pt x="22387" y="48"/>
                  </a:lnTo>
                  <a:lnTo>
                    <a:pt x="22362" y="38"/>
                  </a:lnTo>
                  <a:lnTo>
                    <a:pt x="22339" y="27"/>
                  </a:lnTo>
                  <a:lnTo>
                    <a:pt x="22316" y="15"/>
                  </a:lnTo>
                  <a:lnTo>
                    <a:pt x="22316" y="15"/>
                  </a:lnTo>
                  <a:lnTo>
                    <a:pt x="22294" y="27"/>
                  </a:lnTo>
                  <a:lnTo>
                    <a:pt x="22270" y="38"/>
                  </a:lnTo>
                  <a:lnTo>
                    <a:pt x="22245" y="48"/>
                  </a:lnTo>
                  <a:lnTo>
                    <a:pt x="22219" y="57"/>
                  </a:lnTo>
                  <a:lnTo>
                    <a:pt x="22192" y="67"/>
                  </a:lnTo>
                  <a:lnTo>
                    <a:pt x="22163" y="76"/>
                  </a:lnTo>
                  <a:lnTo>
                    <a:pt x="22135" y="83"/>
                  </a:lnTo>
                  <a:lnTo>
                    <a:pt x="22105" y="90"/>
                  </a:lnTo>
                  <a:lnTo>
                    <a:pt x="22073" y="97"/>
                  </a:lnTo>
                  <a:lnTo>
                    <a:pt x="22042" y="102"/>
                  </a:lnTo>
                  <a:lnTo>
                    <a:pt x="22008" y="107"/>
                  </a:lnTo>
                  <a:lnTo>
                    <a:pt x="21974" y="112"/>
                  </a:lnTo>
                  <a:lnTo>
                    <a:pt x="21940" y="114"/>
                  </a:lnTo>
                  <a:lnTo>
                    <a:pt x="21905" y="117"/>
                  </a:lnTo>
                  <a:lnTo>
                    <a:pt x="21869" y="118"/>
                  </a:lnTo>
                  <a:lnTo>
                    <a:pt x="21834" y="118"/>
                  </a:lnTo>
                  <a:lnTo>
                    <a:pt x="21834" y="118"/>
                  </a:lnTo>
                  <a:lnTo>
                    <a:pt x="21796" y="118"/>
                  </a:lnTo>
                  <a:lnTo>
                    <a:pt x="21762" y="117"/>
                  </a:lnTo>
                  <a:lnTo>
                    <a:pt x="21726" y="114"/>
                  </a:lnTo>
                  <a:lnTo>
                    <a:pt x="21692" y="112"/>
                  </a:lnTo>
                  <a:lnTo>
                    <a:pt x="21658" y="107"/>
                  </a:lnTo>
                  <a:lnTo>
                    <a:pt x="21626" y="102"/>
                  </a:lnTo>
                  <a:lnTo>
                    <a:pt x="21593" y="97"/>
                  </a:lnTo>
                  <a:lnTo>
                    <a:pt x="21562" y="90"/>
                  </a:lnTo>
                  <a:lnTo>
                    <a:pt x="21532" y="83"/>
                  </a:lnTo>
                  <a:lnTo>
                    <a:pt x="21502" y="76"/>
                  </a:lnTo>
                  <a:lnTo>
                    <a:pt x="21474" y="67"/>
                  </a:lnTo>
                  <a:lnTo>
                    <a:pt x="21447" y="57"/>
                  </a:lnTo>
                  <a:lnTo>
                    <a:pt x="21421" y="48"/>
                  </a:lnTo>
                  <a:lnTo>
                    <a:pt x="21396" y="38"/>
                  </a:lnTo>
                  <a:lnTo>
                    <a:pt x="21372" y="27"/>
                  </a:lnTo>
                  <a:lnTo>
                    <a:pt x="21350" y="15"/>
                  </a:lnTo>
                  <a:lnTo>
                    <a:pt x="21350" y="15"/>
                  </a:lnTo>
                  <a:lnTo>
                    <a:pt x="21328" y="27"/>
                  </a:lnTo>
                  <a:lnTo>
                    <a:pt x="21304" y="38"/>
                  </a:lnTo>
                  <a:lnTo>
                    <a:pt x="21279" y="48"/>
                  </a:lnTo>
                  <a:lnTo>
                    <a:pt x="21253" y="57"/>
                  </a:lnTo>
                  <a:lnTo>
                    <a:pt x="21226" y="67"/>
                  </a:lnTo>
                  <a:lnTo>
                    <a:pt x="21198" y="76"/>
                  </a:lnTo>
                  <a:lnTo>
                    <a:pt x="21168" y="83"/>
                  </a:lnTo>
                  <a:lnTo>
                    <a:pt x="21138" y="90"/>
                  </a:lnTo>
                  <a:lnTo>
                    <a:pt x="21107" y="97"/>
                  </a:lnTo>
                  <a:lnTo>
                    <a:pt x="21075" y="102"/>
                  </a:lnTo>
                  <a:lnTo>
                    <a:pt x="21042" y="107"/>
                  </a:lnTo>
                  <a:lnTo>
                    <a:pt x="21008" y="112"/>
                  </a:lnTo>
                  <a:lnTo>
                    <a:pt x="20974" y="114"/>
                  </a:lnTo>
                  <a:lnTo>
                    <a:pt x="20938" y="117"/>
                  </a:lnTo>
                  <a:lnTo>
                    <a:pt x="20904" y="118"/>
                  </a:lnTo>
                  <a:lnTo>
                    <a:pt x="20867" y="118"/>
                  </a:lnTo>
                  <a:lnTo>
                    <a:pt x="20867" y="118"/>
                  </a:lnTo>
                  <a:lnTo>
                    <a:pt x="20831" y="118"/>
                  </a:lnTo>
                  <a:lnTo>
                    <a:pt x="20795" y="117"/>
                  </a:lnTo>
                  <a:lnTo>
                    <a:pt x="20760" y="114"/>
                  </a:lnTo>
                  <a:lnTo>
                    <a:pt x="20726" y="112"/>
                  </a:lnTo>
                  <a:lnTo>
                    <a:pt x="20692" y="107"/>
                  </a:lnTo>
                  <a:lnTo>
                    <a:pt x="20659" y="102"/>
                  </a:lnTo>
                  <a:lnTo>
                    <a:pt x="20627" y="97"/>
                  </a:lnTo>
                  <a:lnTo>
                    <a:pt x="20595" y="90"/>
                  </a:lnTo>
                  <a:lnTo>
                    <a:pt x="20565" y="83"/>
                  </a:lnTo>
                  <a:lnTo>
                    <a:pt x="20537" y="76"/>
                  </a:lnTo>
                  <a:lnTo>
                    <a:pt x="20508" y="67"/>
                  </a:lnTo>
                  <a:lnTo>
                    <a:pt x="20481" y="57"/>
                  </a:lnTo>
                  <a:lnTo>
                    <a:pt x="20455" y="48"/>
                  </a:lnTo>
                  <a:lnTo>
                    <a:pt x="20430" y="38"/>
                  </a:lnTo>
                  <a:lnTo>
                    <a:pt x="20406" y="27"/>
                  </a:lnTo>
                  <a:lnTo>
                    <a:pt x="20384" y="15"/>
                  </a:lnTo>
                  <a:lnTo>
                    <a:pt x="20384" y="15"/>
                  </a:lnTo>
                  <a:lnTo>
                    <a:pt x="20361" y="27"/>
                  </a:lnTo>
                  <a:lnTo>
                    <a:pt x="20338" y="38"/>
                  </a:lnTo>
                  <a:lnTo>
                    <a:pt x="20313" y="48"/>
                  </a:lnTo>
                  <a:lnTo>
                    <a:pt x="20287" y="57"/>
                  </a:lnTo>
                  <a:lnTo>
                    <a:pt x="20260" y="67"/>
                  </a:lnTo>
                  <a:lnTo>
                    <a:pt x="20232" y="76"/>
                  </a:lnTo>
                  <a:lnTo>
                    <a:pt x="20202" y="83"/>
                  </a:lnTo>
                  <a:lnTo>
                    <a:pt x="20172" y="90"/>
                  </a:lnTo>
                  <a:lnTo>
                    <a:pt x="20141" y="97"/>
                  </a:lnTo>
                  <a:lnTo>
                    <a:pt x="20109" y="102"/>
                  </a:lnTo>
                  <a:lnTo>
                    <a:pt x="20076" y="107"/>
                  </a:lnTo>
                  <a:lnTo>
                    <a:pt x="20042" y="112"/>
                  </a:lnTo>
                  <a:lnTo>
                    <a:pt x="20007" y="114"/>
                  </a:lnTo>
                  <a:lnTo>
                    <a:pt x="19973" y="117"/>
                  </a:lnTo>
                  <a:lnTo>
                    <a:pt x="19937" y="118"/>
                  </a:lnTo>
                  <a:lnTo>
                    <a:pt x="19901" y="118"/>
                  </a:lnTo>
                  <a:lnTo>
                    <a:pt x="19901" y="118"/>
                  </a:lnTo>
                  <a:lnTo>
                    <a:pt x="19865" y="118"/>
                  </a:lnTo>
                  <a:lnTo>
                    <a:pt x="19830" y="117"/>
                  </a:lnTo>
                  <a:lnTo>
                    <a:pt x="19795" y="115"/>
                  </a:lnTo>
                  <a:lnTo>
                    <a:pt x="19761" y="112"/>
                  </a:lnTo>
                  <a:lnTo>
                    <a:pt x="19727" y="107"/>
                  </a:lnTo>
                  <a:lnTo>
                    <a:pt x="19696" y="103"/>
                  </a:lnTo>
                  <a:lnTo>
                    <a:pt x="19663" y="98"/>
                  </a:lnTo>
                  <a:lnTo>
                    <a:pt x="19633" y="91"/>
                  </a:lnTo>
                  <a:lnTo>
                    <a:pt x="19602" y="85"/>
                  </a:lnTo>
                  <a:lnTo>
                    <a:pt x="19574" y="77"/>
                  </a:lnTo>
                  <a:lnTo>
                    <a:pt x="19546" y="68"/>
                  </a:lnTo>
                  <a:lnTo>
                    <a:pt x="19518" y="59"/>
                  </a:lnTo>
                  <a:lnTo>
                    <a:pt x="19492" y="50"/>
                  </a:lnTo>
                  <a:lnTo>
                    <a:pt x="19468" y="39"/>
                  </a:lnTo>
                  <a:lnTo>
                    <a:pt x="19444" y="29"/>
                  </a:lnTo>
                  <a:lnTo>
                    <a:pt x="19423" y="17"/>
                  </a:lnTo>
                  <a:lnTo>
                    <a:pt x="19423" y="0"/>
                  </a:lnTo>
                  <a:lnTo>
                    <a:pt x="19423" y="0"/>
                  </a:lnTo>
                  <a:lnTo>
                    <a:pt x="19407" y="8"/>
                  </a:lnTo>
                  <a:lnTo>
                    <a:pt x="19407" y="8"/>
                  </a:lnTo>
                  <a:lnTo>
                    <a:pt x="19401" y="5"/>
                  </a:lnTo>
                  <a:lnTo>
                    <a:pt x="19401" y="13"/>
                  </a:lnTo>
                  <a:lnTo>
                    <a:pt x="19401" y="13"/>
                  </a:lnTo>
                  <a:lnTo>
                    <a:pt x="19379" y="25"/>
                  </a:lnTo>
                  <a:lnTo>
                    <a:pt x="19355" y="36"/>
                  </a:lnTo>
                  <a:lnTo>
                    <a:pt x="19330" y="46"/>
                  </a:lnTo>
                  <a:lnTo>
                    <a:pt x="19304" y="56"/>
                  </a:lnTo>
                  <a:lnTo>
                    <a:pt x="19277" y="66"/>
                  </a:lnTo>
                  <a:lnTo>
                    <a:pt x="19248" y="75"/>
                  </a:lnTo>
                  <a:lnTo>
                    <a:pt x="19219" y="82"/>
                  </a:lnTo>
                  <a:lnTo>
                    <a:pt x="19188" y="90"/>
                  </a:lnTo>
                  <a:lnTo>
                    <a:pt x="19157" y="97"/>
                  </a:lnTo>
                  <a:lnTo>
                    <a:pt x="19124" y="102"/>
                  </a:lnTo>
                  <a:lnTo>
                    <a:pt x="19090" y="107"/>
                  </a:lnTo>
                  <a:lnTo>
                    <a:pt x="19057" y="111"/>
                  </a:lnTo>
                  <a:lnTo>
                    <a:pt x="19022" y="114"/>
                  </a:lnTo>
                  <a:lnTo>
                    <a:pt x="18987" y="117"/>
                  </a:lnTo>
                  <a:lnTo>
                    <a:pt x="18951" y="118"/>
                  </a:lnTo>
                  <a:lnTo>
                    <a:pt x="18914" y="118"/>
                  </a:lnTo>
                  <a:lnTo>
                    <a:pt x="18914" y="118"/>
                  </a:lnTo>
                  <a:lnTo>
                    <a:pt x="18878" y="118"/>
                  </a:lnTo>
                  <a:lnTo>
                    <a:pt x="18842" y="117"/>
                  </a:lnTo>
                  <a:lnTo>
                    <a:pt x="18807" y="114"/>
                  </a:lnTo>
                  <a:lnTo>
                    <a:pt x="18772" y="112"/>
                  </a:lnTo>
                  <a:lnTo>
                    <a:pt x="18739" y="107"/>
                  </a:lnTo>
                  <a:lnTo>
                    <a:pt x="18706" y="102"/>
                  </a:lnTo>
                  <a:lnTo>
                    <a:pt x="18674" y="97"/>
                  </a:lnTo>
                  <a:lnTo>
                    <a:pt x="18643" y="90"/>
                  </a:lnTo>
                  <a:lnTo>
                    <a:pt x="18612" y="83"/>
                  </a:lnTo>
                  <a:lnTo>
                    <a:pt x="18583" y="76"/>
                  </a:lnTo>
                  <a:lnTo>
                    <a:pt x="18555" y="67"/>
                  </a:lnTo>
                  <a:lnTo>
                    <a:pt x="18527" y="57"/>
                  </a:lnTo>
                  <a:lnTo>
                    <a:pt x="18501" y="48"/>
                  </a:lnTo>
                  <a:lnTo>
                    <a:pt x="18476" y="38"/>
                  </a:lnTo>
                  <a:lnTo>
                    <a:pt x="18453" y="27"/>
                  </a:lnTo>
                  <a:lnTo>
                    <a:pt x="18431" y="15"/>
                  </a:lnTo>
                  <a:lnTo>
                    <a:pt x="18431" y="15"/>
                  </a:lnTo>
                  <a:lnTo>
                    <a:pt x="18409" y="27"/>
                  </a:lnTo>
                  <a:lnTo>
                    <a:pt x="18385" y="38"/>
                  </a:lnTo>
                  <a:lnTo>
                    <a:pt x="18361" y="48"/>
                  </a:lnTo>
                  <a:lnTo>
                    <a:pt x="18335" y="57"/>
                  </a:lnTo>
                  <a:lnTo>
                    <a:pt x="18307" y="67"/>
                  </a:lnTo>
                  <a:lnTo>
                    <a:pt x="18279" y="76"/>
                  </a:lnTo>
                  <a:lnTo>
                    <a:pt x="18250" y="83"/>
                  </a:lnTo>
                  <a:lnTo>
                    <a:pt x="18219" y="90"/>
                  </a:lnTo>
                  <a:lnTo>
                    <a:pt x="18188" y="97"/>
                  </a:lnTo>
                  <a:lnTo>
                    <a:pt x="18156" y="102"/>
                  </a:lnTo>
                  <a:lnTo>
                    <a:pt x="18122" y="107"/>
                  </a:lnTo>
                  <a:lnTo>
                    <a:pt x="18090" y="112"/>
                  </a:lnTo>
                  <a:lnTo>
                    <a:pt x="18055" y="114"/>
                  </a:lnTo>
                  <a:lnTo>
                    <a:pt x="18020" y="117"/>
                  </a:lnTo>
                  <a:lnTo>
                    <a:pt x="17984" y="118"/>
                  </a:lnTo>
                  <a:lnTo>
                    <a:pt x="17948" y="118"/>
                  </a:lnTo>
                  <a:lnTo>
                    <a:pt x="17948" y="118"/>
                  </a:lnTo>
                  <a:lnTo>
                    <a:pt x="17912" y="118"/>
                  </a:lnTo>
                  <a:lnTo>
                    <a:pt x="17876" y="117"/>
                  </a:lnTo>
                  <a:lnTo>
                    <a:pt x="17841" y="114"/>
                  </a:lnTo>
                  <a:lnTo>
                    <a:pt x="17807" y="112"/>
                  </a:lnTo>
                  <a:lnTo>
                    <a:pt x="17773" y="107"/>
                  </a:lnTo>
                  <a:lnTo>
                    <a:pt x="17740" y="102"/>
                  </a:lnTo>
                  <a:lnTo>
                    <a:pt x="17707" y="97"/>
                  </a:lnTo>
                  <a:lnTo>
                    <a:pt x="17677" y="90"/>
                  </a:lnTo>
                  <a:lnTo>
                    <a:pt x="17646" y="83"/>
                  </a:lnTo>
                  <a:lnTo>
                    <a:pt x="17617" y="76"/>
                  </a:lnTo>
                  <a:lnTo>
                    <a:pt x="17589" y="67"/>
                  </a:lnTo>
                  <a:lnTo>
                    <a:pt x="17562" y="57"/>
                  </a:lnTo>
                  <a:lnTo>
                    <a:pt x="17535" y="48"/>
                  </a:lnTo>
                  <a:lnTo>
                    <a:pt x="17510" y="38"/>
                  </a:lnTo>
                  <a:lnTo>
                    <a:pt x="17488" y="27"/>
                  </a:lnTo>
                  <a:lnTo>
                    <a:pt x="17465" y="15"/>
                  </a:lnTo>
                  <a:lnTo>
                    <a:pt x="17465" y="15"/>
                  </a:lnTo>
                  <a:lnTo>
                    <a:pt x="17443" y="27"/>
                  </a:lnTo>
                  <a:lnTo>
                    <a:pt x="17419" y="38"/>
                  </a:lnTo>
                  <a:lnTo>
                    <a:pt x="17394" y="48"/>
                  </a:lnTo>
                  <a:lnTo>
                    <a:pt x="17368" y="57"/>
                  </a:lnTo>
                  <a:lnTo>
                    <a:pt x="17340" y="67"/>
                  </a:lnTo>
                  <a:lnTo>
                    <a:pt x="17312" y="76"/>
                  </a:lnTo>
                  <a:lnTo>
                    <a:pt x="17283" y="83"/>
                  </a:lnTo>
                  <a:lnTo>
                    <a:pt x="17253" y="90"/>
                  </a:lnTo>
                  <a:lnTo>
                    <a:pt x="17222" y="97"/>
                  </a:lnTo>
                  <a:lnTo>
                    <a:pt x="17189" y="102"/>
                  </a:lnTo>
                  <a:lnTo>
                    <a:pt x="17156" y="107"/>
                  </a:lnTo>
                  <a:lnTo>
                    <a:pt x="17123" y="112"/>
                  </a:lnTo>
                  <a:lnTo>
                    <a:pt x="17089" y="114"/>
                  </a:lnTo>
                  <a:lnTo>
                    <a:pt x="17054" y="117"/>
                  </a:lnTo>
                  <a:lnTo>
                    <a:pt x="17018" y="118"/>
                  </a:lnTo>
                  <a:lnTo>
                    <a:pt x="16982" y="118"/>
                  </a:lnTo>
                  <a:lnTo>
                    <a:pt x="16982" y="118"/>
                  </a:lnTo>
                  <a:lnTo>
                    <a:pt x="16945" y="118"/>
                  </a:lnTo>
                  <a:lnTo>
                    <a:pt x="16910" y="117"/>
                  </a:lnTo>
                  <a:lnTo>
                    <a:pt x="16874" y="114"/>
                  </a:lnTo>
                  <a:lnTo>
                    <a:pt x="16841" y="112"/>
                  </a:lnTo>
                  <a:lnTo>
                    <a:pt x="16807" y="107"/>
                  </a:lnTo>
                  <a:lnTo>
                    <a:pt x="16774" y="102"/>
                  </a:lnTo>
                  <a:lnTo>
                    <a:pt x="16742" y="97"/>
                  </a:lnTo>
                  <a:lnTo>
                    <a:pt x="16710" y="90"/>
                  </a:lnTo>
                  <a:lnTo>
                    <a:pt x="16681" y="83"/>
                  </a:lnTo>
                  <a:lnTo>
                    <a:pt x="16651" y="76"/>
                  </a:lnTo>
                  <a:lnTo>
                    <a:pt x="16623" y="67"/>
                  </a:lnTo>
                  <a:lnTo>
                    <a:pt x="16596" y="57"/>
                  </a:lnTo>
                  <a:lnTo>
                    <a:pt x="16570" y="48"/>
                  </a:lnTo>
                  <a:lnTo>
                    <a:pt x="16544" y="38"/>
                  </a:lnTo>
                  <a:lnTo>
                    <a:pt x="16521" y="27"/>
                  </a:lnTo>
                  <a:lnTo>
                    <a:pt x="16499" y="15"/>
                  </a:lnTo>
                  <a:lnTo>
                    <a:pt x="16499" y="15"/>
                  </a:lnTo>
                  <a:lnTo>
                    <a:pt x="16477" y="27"/>
                  </a:lnTo>
                  <a:lnTo>
                    <a:pt x="16453" y="38"/>
                  </a:lnTo>
                  <a:lnTo>
                    <a:pt x="16428" y="48"/>
                  </a:lnTo>
                  <a:lnTo>
                    <a:pt x="16402" y="57"/>
                  </a:lnTo>
                  <a:lnTo>
                    <a:pt x="16375" y="67"/>
                  </a:lnTo>
                  <a:lnTo>
                    <a:pt x="16346" y="76"/>
                  </a:lnTo>
                  <a:lnTo>
                    <a:pt x="16317" y="83"/>
                  </a:lnTo>
                  <a:lnTo>
                    <a:pt x="16286" y="90"/>
                  </a:lnTo>
                  <a:lnTo>
                    <a:pt x="16256" y="97"/>
                  </a:lnTo>
                  <a:lnTo>
                    <a:pt x="16223" y="102"/>
                  </a:lnTo>
                  <a:lnTo>
                    <a:pt x="16191" y="107"/>
                  </a:lnTo>
                  <a:lnTo>
                    <a:pt x="16157" y="112"/>
                  </a:lnTo>
                  <a:lnTo>
                    <a:pt x="16122" y="114"/>
                  </a:lnTo>
                  <a:lnTo>
                    <a:pt x="16087" y="117"/>
                  </a:lnTo>
                  <a:lnTo>
                    <a:pt x="16052" y="118"/>
                  </a:lnTo>
                  <a:lnTo>
                    <a:pt x="16015" y="118"/>
                  </a:lnTo>
                  <a:lnTo>
                    <a:pt x="16015" y="118"/>
                  </a:lnTo>
                  <a:lnTo>
                    <a:pt x="15979" y="118"/>
                  </a:lnTo>
                  <a:lnTo>
                    <a:pt x="15943" y="117"/>
                  </a:lnTo>
                  <a:lnTo>
                    <a:pt x="15909" y="114"/>
                  </a:lnTo>
                  <a:lnTo>
                    <a:pt x="15875" y="112"/>
                  </a:lnTo>
                  <a:lnTo>
                    <a:pt x="15841" y="107"/>
                  </a:lnTo>
                  <a:lnTo>
                    <a:pt x="15807" y="102"/>
                  </a:lnTo>
                  <a:lnTo>
                    <a:pt x="15776" y="97"/>
                  </a:lnTo>
                  <a:lnTo>
                    <a:pt x="15744" y="90"/>
                  </a:lnTo>
                  <a:lnTo>
                    <a:pt x="15714" y="83"/>
                  </a:lnTo>
                  <a:lnTo>
                    <a:pt x="15684" y="76"/>
                  </a:lnTo>
                  <a:lnTo>
                    <a:pt x="15656" y="67"/>
                  </a:lnTo>
                  <a:lnTo>
                    <a:pt x="15630" y="57"/>
                  </a:lnTo>
                  <a:lnTo>
                    <a:pt x="15604" y="48"/>
                  </a:lnTo>
                  <a:lnTo>
                    <a:pt x="15579" y="38"/>
                  </a:lnTo>
                  <a:lnTo>
                    <a:pt x="15555" y="27"/>
                  </a:lnTo>
                  <a:lnTo>
                    <a:pt x="15533" y="15"/>
                  </a:lnTo>
                  <a:lnTo>
                    <a:pt x="15533" y="15"/>
                  </a:lnTo>
                  <a:lnTo>
                    <a:pt x="15510" y="27"/>
                  </a:lnTo>
                  <a:lnTo>
                    <a:pt x="15487" y="38"/>
                  </a:lnTo>
                  <a:lnTo>
                    <a:pt x="15462" y="48"/>
                  </a:lnTo>
                  <a:lnTo>
                    <a:pt x="15436" y="57"/>
                  </a:lnTo>
                  <a:lnTo>
                    <a:pt x="15409" y="67"/>
                  </a:lnTo>
                  <a:lnTo>
                    <a:pt x="15380" y="76"/>
                  </a:lnTo>
                  <a:lnTo>
                    <a:pt x="15351" y="83"/>
                  </a:lnTo>
                  <a:lnTo>
                    <a:pt x="15320" y="90"/>
                  </a:lnTo>
                  <a:lnTo>
                    <a:pt x="15290" y="97"/>
                  </a:lnTo>
                  <a:lnTo>
                    <a:pt x="15257" y="102"/>
                  </a:lnTo>
                  <a:lnTo>
                    <a:pt x="15225" y="107"/>
                  </a:lnTo>
                  <a:lnTo>
                    <a:pt x="15191" y="112"/>
                  </a:lnTo>
                  <a:lnTo>
                    <a:pt x="15156" y="114"/>
                  </a:lnTo>
                  <a:lnTo>
                    <a:pt x="15121" y="117"/>
                  </a:lnTo>
                  <a:lnTo>
                    <a:pt x="15085" y="118"/>
                  </a:lnTo>
                  <a:lnTo>
                    <a:pt x="15049" y="118"/>
                  </a:lnTo>
                  <a:lnTo>
                    <a:pt x="15049" y="118"/>
                  </a:lnTo>
                  <a:lnTo>
                    <a:pt x="15013" y="118"/>
                  </a:lnTo>
                  <a:lnTo>
                    <a:pt x="14977" y="117"/>
                  </a:lnTo>
                  <a:lnTo>
                    <a:pt x="14943" y="114"/>
                  </a:lnTo>
                  <a:lnTo>
                    <a:pt x="14908" y="112"/>
                  </a:lnTo>
                  <a:lnTo>
                    <a:pt x="14874" y="107"/>
                  </a:lnTo>
                  <a:lnTo>
                    <a:pt x="14841" y="102"/>
                  </a:lnTo>
                  <a:lnTo>
                    <a:pt x="14810" y="97"/>
                  </a:lnTo>
                  <a:lnTo>
                    <a:pt x="14778" y="90"/>
                  </a:lnTo>
                  <a:lnTo>
                    <a:pt x="14748" y="83"/>
                  </a:lnTo>
                  <a:lnTo>
                    <a:pt x="14718" y="76"/>
                  </a:lnTo>
                  <a:lnTo>
                    <a:pt x="14690" y="67"/>
                  </a:lnTo>
                  <a:lnTo>
                    <a:pt x="14663" y="57"/>
                  </a:lnTo>
                  <a:lnTo>
                    <a:pt x="14637" y="48"/>
                  </a:lnTo>
                  <a:lnTo>
                    <a:pt x="14613" y="38"/>
                  </a:lnTo>
                  <a:lnTo>
                    <a:pt x="14589" y="27"/>
                  </a:lnTo>
                  <a:lnTo>
                    <a:pt x="14566" y="15"/>
                  </a:lnTo>
                  <a:lnTo>
                    <a:pt x="14566" y="15"/>
                  </a:lnTo>
                  <a:lnTo>
                    <a:pt x="14544" y="27"/>
                  </a:lnTo>
                  <a:lnTo>
                    <a:pt x="14520" y="38"/>
                  </a:lnTo>
                  <a:lnTo>
                    <a:pt x="14496" y="48"/>
                  </a:lnTo>
                  <a:lnTo>
                    <a:pt x="14470" y="57"/>
                  </a:lnTo>
                  <a:lnTo>
                    <a:pt x="14443" y="67"/>
                  </a:lnTo>
                  <a:lnTo>
                    <a:pt x="14414" y="76"/>
                  </a:lnTo>
                  <a:lnTo>
                    <a:pt x="14385" y="83"/>
                  </a:lnTo>
                  <a:lnTo>
                    <a:pt x="14355" y="90"/>
                  </a:lnTo>
                  <a:lnTo>
                    <a:pt x="14323" y="97"/>
                  </a:lnTo>
                  <a:lnTo>
                    <a:pt x="14291" y="102"/>
                  </a:lnTo>
                  <a:lnTo>
                    <a:pt x="14259" y="107"/>
                  </a:lnTo>
                  <a:lnTo>
                    <a:pt x="14225" y="112"/>
                  </a:lnTo>
                  <a:lnTo>
                    <a:pt x="14190" y="114"/>
                  </a:lnTo>
                  <a:lnTo>
                    <a:pt x="14155" y="117"/>
                  </a:lnTo>
                  <a:lnTo>
                    <a:pt x="14119" y="118"/>
                  </a:lnTo>
                  <a:lnTo>
                    <a:pt x="14083" y="118"/>
                  </a:lnTo>
                  <a:lnTo>
                    <a:pt x="14083" y="118"/>
                  </a:lnTo>
                  <a:lnTo>
                    <a:pt x="14048" y="118"/>
                  </a:lnTo>
                  <a:lnTo>
                    <a:pt x="14012" y="117"/>
                  </a:lnTo>
                  <a:lnTo>
                    <a:pt x="13977" y="114"/>
                  </a:lnTo>
                  <a:lnTo>
                    <a:pt x="13942" y="112"/>
                  </a:lnTo>
                  <a:lnTo>
                    <a:pt x="13908" y="107"/>
                  </a:lnTo>
                  <a:lnTo>
                    <a:pt x="13875" y="102"/>
                  </a:lnTo>
                  <a:lnTo>
                    <a:pt x="13843" y="97"/>
                  </a:lnTo>
                  <a:lnTo>
                    <a:pt x="13812" y="90"/>
                  </a:lnTo>
                  <a:lnTo>
                    <a:pt x="13782" y="83"/>
                  </a:lnTo>
                  <a:lnTo>
                    <a:pt x="13752" y="76"/>
                  </a:lnTo>
                  <a:lnTo>
                    <a:pt x="13724" y="67"/>
                  </a:lnTo>
                  <a:lnTo>
                    <a:pt x="13697" y="57"/>
                  </a:lnTo>
                  <a:lnTo>
                    <a:pt x="13671" y="48"/>
                  </a:lnTo>
                  <a:lnTo>
                    <a:pt x="13646" y="38"/>
                  </a:lnTo>
                  <a:lnTo>
                    <a:pt x="13623" y="27"/>
                  </a:lnTo>
                  <a:lnTo>
                    <a:pt x="13600" y="15"/>
                  </a:lnTo>
                  <a:lnTo>
                    <a:pt x="13600" y="15"/>
                  </a:lnTo>
                  <a:lnTo>
                    <a:pt x="13578" y="27"/>
                  </a:lnTo>
                  <a:lnTo>
                    <a:pt x="13554" y="38"/>
                  </a:lnTo>
                  <a:lnTo>
                    <a:pt x="13529" y="48"/>
                  </a:lnTo>
                  <a:lnTo>
                    <a:pt x="13503" y="57"/>
                  </a:lnTo>
                  <a:lnTo>
                    <a:pt x="13476" y="67"/>
                  </a:lnTo>
                  <a:lnTo>
                    <a:pt x="13447" y="76"/>
                  </a:lnTo>
                  <a:lnTo>
                    <a:pt x="13419" y="83"/>
                  </a:lnTo>
                  <a:lnTo>
                    <a:pt x="13389" y="90"/>
                  </a:lnTo>
                  <a:lnTo>
                    <a:pt x="13357" y="97"/>
                  </a:lnTo>
                  <a:lnTo>
                    <a:pt x="13326" y="102"/>
                  </a:lnTo>
                  <a:lnTo>
                    <a:pt x="13292" y="107"/>
                  </a:lnTo>
                  <a:lnTo>
                    <a:pt x="13258" y="112"/>
                  </a:lnTo>
                  <a:lnTo>
                    <a:pt x="13224" y="114"/>
                  </a:lnTo>
                  <a:lnTo>
                    <a:pt x="13189" y="117"/>
                  </a:lnTo>
                  <a:lnTo>
                    <a:pt x="13153" y="118"/>
                  </a:lnTo>
                  <a:lnTo>
                    <a:pt x="13118" y="118"/>
                  </a:lnTo>
                  <a:lnTo>
                    <a:pt x="13118" y="118"/>
                  </a:lnTo>
                  <a:lnTo>
                    <a:pt x="13079" y="118"/>
                  </a:lnTo>
                  <a:lnTo>
                    <a:pt x="13041" y="116"/>
                  </a:lnTo>
                  <a:lnTo>
                    <a:pt x="13005" y="114"/>
                  </a:lnTo>
                  <a:lnTo>
                    <a:pt x="12969" y="111"/>
                  </a:lnTo>
                  <a:lnTo>
                    <a:pt x="12934" y="106"/>
                  </a:lnTo>
                  <a:lnTo>
                    <a:pt x="12900" y="101"/>
                  </a:lnTo>
                  <a:lnTo>
                    <a:pt x="12866" y="94"/>
                  </a:lnTo>
                  <a:lnTo>
                    <a:pt x="12834" y="88"/>
                  </a:lnTo>
                  <a:lnTo>
                    <a:pt x="12803" y="80"/>
                  </a:lnTo>
                  <a:lnTo>
                    <a:pt x="12772" y="71"/>
                  </a:lnTo>
                  <a:lnTo>
                    <a:pt x="12743" y="62"/>
                  </a:lnTo>
                  <a:lnTo>
                    <a:pt x="12716" y="52"/>
                  </a:lnTo>
                  <a:lnTo>
                    <a:pt x="12688" y="41"/>
                  </a:lnTo>
                  <a:lnTo>
                    <a:pt x="12663" y="30"/>
                  </a:lnTo>
                  <a:lnTo>
                    <a:pt x="12639" y="18"/>
                  </a:lnTo>
                  <a:lnTo>
                    <a:pt x="12618" y="5"/>
                  </a:lnTo>
                  <a:lnTo>
                    <a:pt x="12618" y="0"/>
                  </a:lnTo>
                  <a:lnTo>
                    <a:pt x="12618" y="0"/>
                  </a:lnTo>
                  <a:lnTo>
                    <a:pt x="12596" y="13"/>
                  </a:lnTo>
                  <a:lnTo>
                    <a:pt x="12572" y="26"/>
                  </a:lnTo>
                  <a:lnTo>
                    <a:pt x="12546" y="38"/>
                  </a:lnTo>
                  <a:lnTo>
                    <a:pt x="12520" y="49"/>
                  </a:lnTo>
                  <a:lnTo>
                    <a:pt x="12491" y="59"/>
                  </a:lnTo>
                  <a:lnTo>
                    <a:pt x="12462" y="69"/>
                  </a:lnTo>
                  <a:lnTo>
                    <a:pt x="12431" y="78"/>
                  </a:lnTo>
                  <a:lnTo>
                    <a:pt x="12399" y="86"/>
                  </a:lnTo>
                  <a:lnTo>
                    <a:pt x="12366" y="93"/>
                  </a:lnTo>
                  <a:lnTo>
                    <a:pt x="12332" y="100"/>
                  </a:lnTo>
                  <a:lnTo>
                    <a:pt x="12296" y="105"/>
                  </a:lnTo>
                  <a:lnTo>
                    <a:pt x="12261" y="111"/>
                  </a:lnTo>
                  <a:lnTo>
                    <a:pt x="12225" y="114"/>
                  </a:lnTo>
                  <a:lnTo>
                    <a:pt x="12186" y="116"/>
                  </a:lnTo>
                  <a:lnTo>
                    <a:pt x="12148" y="118"/>
                  </a:lnTo>
                  <a:lnTo>
                    <a:pt x="12109" y="118"/>
                  </a:lnTo>
                  <a:lnTo>
                    <a:pt x="12109" y="118"/>
                  </a:lnTo>
                  <a:lnTo>
                    <a:pt x="12073" y="118"/>
                  </a:lnTo>
                  <a:lnTo>
                    <a:pt x="12037" y="117"/>
                  </a:lnTo>
                  <a:lnTo>
                    <a:pt x="12002" y="114"/>
                  </a:lnTo>
                  <a:lnTo>
                    <a:pt x="11968" y="112"/>
                  </a:lnTo>
                  <a:lnTo>
                    <a:pt x="11935" y="107"/>
                  </a:lnTo>
                  <a:lnTo>
                    <a:pt x="11901" y="102"/>
                  </a:lnTo>
                  <a:lnTo>
                    <a:pt x="11870" y="97"/>
                  </a:lnTo>
                  <a:lnTo>
                    <a:pt x="11838" y="90"/>
                  </a:lnTo>
                  <a:lnTo>
                    <a:pt x="11808" y="83"/>
                  </a:lnTo>
                  <a:lnTo>
                    <a:pt x="11778" y="76"/>
                  </a:lnTo>
                  <a:lnTo>
                    <a:pt x="11750" y="67"/>
                  </a:lnTo>
                  <a:lnTo>
                    <a:pt x="11723" y="57"/>
                  </a:lnTo>
                  <a:lnTo>
                    <a:pt x="11696" y="48"/>
                  </a:lnTo>
                  <a:lnTo>
                    <a:pt x="11672" y="38"/>
                  </a:lnTo>
                  <a:lnTo>
                    <a:pt x="11649" y="27"/>
                  </a:lnTo>
                  <a:lnTo>
                    <a:pt x="11627" y="15"/>
                  </a:lnTo>
                  <a:lnTo>
                    <a:pt x="11627" y="15"/>
                  </a:lnTo>
                  <a:lnTo>
                    <a:pt x="11604" y="27"/>
                  </a:lnTo>
                  <a:lnTo>
                    <a:pt x="11581" y="38"/>
                  </a:lnTo>
                  <a:lnTo>
                    <a:pt x="11556" y="48"/>
                  </a:lnTo>
                  <a:lnTo>
                    <a:pt x="11530" y="57"/>
                  </a:lnTo>
                  <a:lnTo>
                    <a:pt x="11503" y="67"/>
                  </a:lnTo>
                  <a:lnTo>
                    <a:pt x="11474" y="76"/>
                  </a:lnTo>
                  <a:lnTo>
                    <a:pt x="11445" y="83"/>
                  </a:lnTo>
                  <a:lnTo>
                    <a:pt x="11414" y="90"/>
                  </a:lnTo>
                  <a:lnTo>
                    <a:pt x="11383" y="97"/>
                  </a:lnTo>
                  <a:lnTo>
                    <a:pt x="11351" y="102"/>
                  </a:lnTo>
                  <a:lnTo>
                    <a:pt x="11319" y="107"/>
                  </a:lnTo>
                  <a:lnTo>
                    <a:pt x="11285" y="112"/>
                  </a:lnTo>
                  <a:lnTo>
                    <a:pt x="11250" y="114"/>
                  </a:lnTo>
                  <a:lnTo>
                    <a:pt x="11215" y="117"/>
                  </a:lnTo>
                  <a:lnTo>
                    <a:pt x="11179" y="118"/>
                  </a:lnTo>
                  <a:lnTo>
                    <a:pt x="11143" y="118"/>
                  </a:lnTo>
                  <a:lnTo>
                    <a:pt x="11143" y="118"/>
                  </a:lnTo>
                  <a:lnTo>
                    <a:pt x="11107" y="118"/>
                  </a:lnTo>
                  <a:lnTo>
                    <a:pt x="11071" y="117"/>
                  </a:lnTo>
                  <a:lnTo>
                    <a:pt x="11037" y="114"/>
                  </a:lnTo>
                  <a:lnTo>
                    <a:pt x="11002" y="112"/>
                  </a:lnTo>
                  <a:lnTo>
                    <a:pt x="10968" y="107"/>
                  </a:lnTo>
                  <a:lnTo>
                    <a:pt x="10935" y="102"/>
                  </a:lnTo>
                  <a:lnTo>
                    <a:pt x="10904" y="97"/>
                  </a:lnTo>
                  <a:lnTo>
                    <a:pt x="10872" y="90"/>
                  </a:lnTo>
                  <a:lnTo>
                    <a:pt x="10842" y="83"/>
                  </a:lnTo>
                  <a:lnTo>
                    <a:pt x="10812" y="76"/>
                  </a:lnTo>
                  <a:lnTo>
                    <a:pt x="10784" y="67"/>
                  </a:lnTo>
                  <a:lnTo>
                    <a:pt x="10757" y="57"/>
                  </a:lnTo>
                  <a:lnTo>
                    <a:pt x="10731" y="48"/>
                  </a:lnTo>
                  <a:lnTo>
                    <a:pt x="10706" y="38"/>
                  </a:lnTo>
                  <a:lnTo>
                    <a:pt x="10683" y="27"/>
                  </a:lnTo>
                  <a:lnTo>
                    <a:pt x="10660" y="15"/>
                  </a:lnTo>
                  <a:lnTo>
                    <a:pt x="10660" y="15"/>
                  </a:lnTo>
                  <a:lnTo>
                    <a:pt x="10638" y="27"/>
                  </a:lnTo>
                  <a:lnTo>
                    <a:pt x="10614" y="38"/>
                  </a:lnTo>
                  <a:lnTo>
                    <a:pt x="10589" y="48"/>
                  </a:lnTo>
                  <a:lnTo>
                    <a:pt x="10564" y="57"/>
                  </a:lnTo>
                  <a:lnTo>
                    <a:pt x="10537" y="67"/>
                  </a:lnTo>
                  <a:lnTo>
                    <a:pt x="10508" y="76"/>
                  </a:lnTo>
                  <a:lnTo>
                    <a:pt x="10479" y="83"/>
                  </a:lnTo>
                  <a:lnTo>
                    <a:pt x="10449" y="90"/>
                  </a:lnTo>
                  <a:lnTo>
                    <a:pt x="10417" y="97"/>
                  </a:lnTo>
                  <a:lnTo>
                    <a:pt x="10385" y="102"/>
                  </a:lnTo>
                  <a:lnTo>
                    <a:pt x="10352" y="107"/>
                  </a:lnTo>
                  <a:lnTo>
                    <a:pt x="10318" y="112"/>
                  </a:lnTo>
                  <a:lnTo>
                    <a:pt x="10284" y="114"/>
                  </a:lnTo>
                  <a:lnTo>
                    <a:pt x="10249" y="117"/>
                  </a:lnTo>
                  <a:lnTo>
                    <a:pt x="10213" y="118"/>
                  </a:lnTo>
                  <a:lnTo>
                    <a:pt x="10177" y="118"/>
                  </a:lnTo>
                  <a:lnTo>
                    <a:pt x="10177" y="118"/>
                  </a:lnTo>
                  <a:lnTo>
                    <a:pt x="10140" y="118"/>
                  </a:lnTo>
                  <a:lnTo>
                    <a:pt x="10105" y="117"/>
                  </a:lnTo>
                  <a:lnTo>
                    <a:pt x="10071" y="114"/>
                  </a:lnTo>
                  <a:lnTo>
                    <a:pt x="10036" y="112"/>
                  </a:lnTo>
                  <a:lnTo>
                    <a:pt x="10002" y="107"/>
                  </a:lnTo>
                  <a:lnTo>
                    <a:pt x="9969" y="102"/>
                  </a:lnTo>
                  <a:lnTo>
                    <a:pt x="9937" y="97"/>
                  </a:lnTo>
                  <a:lnTo>
                    <a:pt x="9906" y="90"/>
                  </a:lnTo>
                  <a:lnTo>
                    <a:pt x="9876" y="83"/>
                  </a:lnTo>
                  <a:lnTo>
                    <a:pt x="9846" y="76"/>
                  </a:lnTo>
                  <a:lnTo>
                    <a:pt x="9818" y="67"/>
                  </a:lnTo>
                  <a:lnTo>
                    <a:pt x="9791" y="57"/>
                  </a:lnTo>
                  <a:lnTo>
                    <a:pt x="9765" y="48"/>
                  </a:lnTo>
                  <a:lnTo>
                    <a:pt x="9740" y="38"/>
                  </a:lnTo>
                  <a:lnTo>
                    <a:pt x="9717" y="27"/>
                  </a:lnTo>
                  <a:lnTo>
                    <a:pt x="9694" y="15"/>
                  </a:lnTo>
                  <a:lnTo>
                    <a:pt x="9694" y="15"/>
                  </a:lnTo>
                  <a:lnTo>
                    <a:pt x="9672" y="27"/>
                  </a:lnTo>
                  <a:lnTo>
                    <a:pt x="9648" y="38"/>
                  </a:lnTo>
                  <a:lnTo>
                    <a:pt x="9623" y="48"/>
                  </a:lnTo>
                  <a:lnTo>
                    <a:pt x="9597" y="57"/>
                  </a:lnTo>
                  <a:lnTo>
                    <a:pt x="9570" y="67"/>
                  </a:lnTo>
                  <a:lnTo>
                    <a:pt x="9541" y="76"/>
                  </a:lnTo>
                  <a:lnTo>
                    <a:pt x="9512" y="83"/>
                  </a:lnTo>
                  <a:lnTo>
                    <a:pt x="9483" y="90"/>
                  </a:lnTo>
                  <a:lnTo>
                    <a:pt x="9451" y="97"/>
                  </a:lnTo>
                  <a:lnTo>
                    <a:pt x="9418" y="102"/>
                  </a:lnTo>
                  <a:lnTo>
                    <a:pt x="9386" y="107"/>
                  </a:lnTo>
                  <a:lnTo>
                    <a:pt x="9352" y="112"/>
                  </a:lnTo>
                  <a:lnTo>
                    <a:pt x="9318" y="114"/>
                  </a:lnTo>
                  <a:lnTo>
                    <a:pt x="9282" y="117"/>
                  </a:lnTo>
                  <a:lnTo>
                    <a:pt x="9247" y="118"/>
                  </a:lnTo>
                  <a:lnTo>
                    <a:pt x="9210" y="118"/>
                  </a:lnTo>
                  <a:lnTo>
                    <a:pt x="9210" y="118"/>
                  </a:lnTo>
                  <a:lnTo>
                    <a:pt x="9174" y="118"/>
                  </a:lnTo>
                  <a:lnTo>
                    <a:pt x="9140" y="117"/>
                  </a:lnTo>
                  <a:lnTo>
                    <a:pt x="9104" y="114"/>
                  </a:lnTo>
                  <a:lnTo>
                    <a:pt x="9070" y="112"/>
                  </a:lnTo>
                  <a:lnTo>
                    <a:pt x="9036" y="107"/>
                  </a:lnTo>
                  <a:lnTo>
                    <a:pt x="9003" y="102"/>
                  </a:lnTo>
                  <a:lnTo>
                    <a:pt x="8971" y="97"/>
                  </a:lnTo>
                  <a:lnTo>
                    <a:pt x="8939" y="90"/>
                  </a:lnTo>
                  <a:lnTo>
                    <a:pt x="8910" y="83"/>
                  </a:lnTo>
                  <a:lnTo>
                    <a:pt x="8880" y="76"/>
                  </a:lnTo>
                  <a:lnTo>
                    <a:pt x="8852" y="67"/>
                  </a:lnTo>
                  <a:lnTo>
                    <a:pt x="8825" y="57"/>
                  </a:lnTo>
                  <a:lnTo>
                    <a:pt x="8799" y="48"/>
                  </a:lnTo>
                  <a:lnTo>
                    <a:pt x="8774" y="38"/>
                  </a:lnTo>
                  <a:lnTo>
                    <a:pt x="8750" y="27"/>
                  </a:lnTo>
                  <a:lnTo>
                    <a:pt x="8728" y="15"/>
                  </a:lnTo>
                  <a:lnTo>
                    <a:pt x="8728" y="15"/>
                  </a:lnTo>
                  <a:lnTo>
                    <a:pt x="8705" y="27"/>
                  </a:lnTo>
                  <a:lnTo>
                    <a:pt x="8682" y="38"/>
                  </a:lnTo>
                  <a:lnTo>
                    <a:pt x="8657" y="48"/>
                  </a:lnTo>
                  <a:lnTo>
                    <a:pt x="8631" y="57"/>
                  </a:lnTo>
                  <a:lnTo>
                    <a:pt x="8604" y="67"/>
                  </a:lnTo>
                  <a:lnTo>
                    <a:pt x="8576" y="76"/>
                  </a:lnTo>
                  <a:lnTo>
                    <a:pt x="8546" y="83"/>
                  </a:lnTo>
                  <a:lnTo>
                    <a:pt x="8516" y="90"/>
                  </a:lnTo>
                  <a:lnTo>
                    <a:pt x="8485" y="97"/>
                  </a:lnTo>
                  <a:lnTo>
                    <a:pt x="8452" y="102"/>
                  </a:lnTo>
                  <a:lnTo>
                    <a:pt x="8420" y="107"/>
                  </a:lnTo>
                  <a:lnTo>
                    <a:pt x="8386" y="112"/>
                  </a:lnTo>
                  <a:lnTo>
                    <a:pt x="8351" y="114"/>
                  </a:lnTo>
                  <a:lnTo>
                    <a:pt x="8316" y="117"/>
                  </a:lnTo>
                  <a:lnTo>
                    <a:pt x="8280" y="118"/>
                  </a:lnTo>
                  <a:lnTo>
                    <a:pt x="8244" y="118"/>
                  </a:lnTo>
                  <a:lnTo>
                    <a:pt x="8244" y="118"/>
                  </a:lnTo>
                  <a:lnTo>
                    <a:pt x="8209" y="118"/>
                  </a:lnTo>
                  <a:lnTo>
                    <a:pt x="8173" y="117"/>
                  </a:lnTo>
                  <a:lnTo>
                    <a:pt x="8138" y="114"/>
                  </a:lnTo>
                  <a:lnTo>
                    <a:pt x="8104" y="112"/>
                  </a:lnTo>
                  <a:lnTo>
                    <a:pt x="8070" y="107"/>
                  </a:lnTo>
                  <a:lnTo>
                    <a:pt x="8036" y="102"/>
                  </a:lnTo>
                  <a:lnTo>
                    <a:pt x="8005" y="97"/>
                  </a:lnTo>
                  <a:lnTo>
                    <a:pt x="7973" y="90"/>
                  </a:lnTo>
                  <a:lnTo>
                    <a:pt x="7943" y="83"/>
                  </a:lnTo>
                  <a:lnTo>
                    <a:pt x="7913" y="76"/>
                  </a:lnTo>
                  <a:lnTo>
                    <a:pt x="7885" y="67"/>
                  </a:lnTo>
                  <a:lnTo>
                    <a:pt x="7858" y="57"/>
                  </a:lnTo>
                  <a:lnTo>
                    <a:pt x="7833" y="48"/>
                  </a:lnTo>
                  <a:lnTo>
                    <a:pt x="7808" y="38"/>
                  </a:lnTo>
                  <a:lnTo>
                    <a:pt x="7784" y="27"/>
                  </a:lnTo>
                  <a:lnTo>
                    <a:pt x="7762" y="15"/>
                  </a:lnTo>
                  <a:lnTo>
                    <a:pt x="7762" y="15"/>
                  </a:lnTo>
                  <a:lnTo>
                    <a:pt x="7739" y="27"/>
                  </a:lnTo>
                  <a:lnTo>
                    <a:pt x="7716" y="38"/>
                  </a:lnTo>
                  <a:lnTo>
                    <a:pt x="7691" y="48"/>
                  </a:lnTo>
                  <a:lnTo>
                    <a:pt x="7665" y="57"/>
                  </a:lnTo>
                  <a:lnTo>
                    <a:pt x="7638" y="67"/>
                  </a:lnTo>
                  <a:lnTo>
                    <a:pt x="7610" y="76"/>
                  </a:lnTo>
                  <a:lnTo>
                    <a:pt x="7580" y="83"/>
                  </a:lnTo>
                  <a:lnTo>
                    <a:pt x="7550" y="90"/>
                  </a:lnTo>
                  <a:lnTo>
                    <a:pt x="7518" y="97"/>
                  </a:lnTo>
                  <a:lnTo>
                    <a:pt x="7487" y="102"/>
                  </a:lnTo>
                  <a:lnTo>
                    <a:pt x="7454" y="107"/>
                  </a:lnTo>
                  <a:lnTo>
                    <a:pt x="7420" y="112"/>
                  </a:lnTo>
                  <a:lnTo>
                    <a:pt x="7385" y="114"/>
                  </a:lnTo>
                  <a:lnTo>
                    <a:pt x="7350" y="117"/>
                  </a:lnTo>
                  <a:lnTo>
                    <a:pt x="7315" y="118"/>
                  </a:lnTo>
                  <a:lnTo>
                    <a:pt x="7279" y="118"/>
                  </a:lnTo>
                  <a:lnTo>
                    <a:pt x="7279" y="118"/>
                  </a:lnTo>
                  <a:lnTo>
                    <a:pt x="7243" y="118"/>
                  </a:lnTo>
                  <a:lnTo>
                    <a:pt x="7207" y="117"/>
                  </a:lnTo>
                  <a:lnTo>
                    <a:pt x="7172" y="114"/>
                  </a:lnTo>
                  <a:lnTo>
                    <a:pt x="7137" y="112"/>
                  </a:lnTo>
                  <a:lnTo>
                    <a:pt x="7103" y="107"/>
                  </a:lnTo>
                  <a:lnTo>
                    <a:pt x="7071" y="102"/>
                  </a:lnTo>
                  <a:lnTo>
                    <a:pt x="7039" y="97"/>
                  </a:lnTo>
                  <a:lnTo>
                    <a:pt x="7007" y="90"/>
                  </a:lnTo>
                  <a:lnTo>
                    <a:pt x="6977" y="83"/>
                  </a:lnTo>
                  <a:lnTo>
                    <a:pt x="6948" y="76"/>
                  </a:lnTo>
                  <a:lnTo>
                    <a:pt x="6919" y="67"/>
                  </a:lnTo>
                  <a:lnTo>
                    <a:pt x="6892" y="57"/>
                  </a:lnTo>
                  <a:lnTo>
                    <a:pt x="6866" y="48"/>
                  </a:lnTo>
                  <a:lnTo>
                    <a:pt x="6841" y="38"/>
                  </a:lnTo>
                  <a:lnTo>
                    <a:pt x="6818" y="27"/>
                  </a:lnTo>
                  <a:lnTo>
                    <a:pt x="6795" y="15"/>
                  </a:lnTo>
                  <a:lnTo>
                    <a:pt x="6795" y="15"/>
                  </a:lnTo>
                  <a:lnTo>
                    <a:pt x="6773" y="27"/>
                  </a:lnTo>
                  <a:lnTo>
                    <a:pt x="6749" y="38"/>
                  </a:lnTo>
                  <a:lnTo>
                    <a:pt x="6725" y="48"/>
                  </a:lnTo>
                  <a:lnTo>
                    <a:pt x="6699" y="57"/>
                  </a:lnTo>
                  <a:lnTo>
                    <a:pt x="6672" y="67"/>
                  </a:lnTo>
                  <a:lnTo>
                    <a:pt x="6644" y="76"/>
                  </a:lnTo>
                  <a:lnTo>
                    <a:pt x="6614" y="83"/>
                  </a:lnTo>
                  <a:lnTo>
                    <a:pt x="6584" y="90"/>
                  </a:lnTo>
                  <a:lnTo>
                    <a:pt x="6552" y="97"/>
                  </a:lnTo>
                  <a:lnTo>
                    <a:pt x="6521" y="102"/>
                  </a:lnTo>
                  <a:lnTo>
                    <a:pt x="6487" y="107"/>
                  </a:lnTo>
                  <a:lnTo>
                    <a:pt x="6454" y="112"/>
                  </a:lnTo>
                  <a:lnTo>
                    <a:pt x="6419" y="114"/>
                  </a:lnTo>
                  <a:lnTo>
                    <a:pt x="6385" y="117"/>
                  </a:lnTo>
                  <a:lnTo>
                    <a:pt x="6349" y="118"/>
                  </a:lnTo>
                  <a:lnTo>
                    <a:pt x="6313" y="118"/>
                  </a:lnTo>
                  <a:lnTo>
                    <a:pt x="6313" y="118"/>
                  </a:lnTo>
                  <a:lnTo>
                    <a:pt x="6277" y="118"/>
                  </a:lnTo>
                  <a:lnTo>
                    <a:pt x="6242" y="117"/>
                  </a:lnTo>
                  <a:lnTo>
                    <a:pt x="6207" y="115"/>
                  </a:lnTo>
                  <a:lnTo>
                    <a:pt x="6173" y="112"/>
                  </a:lnTo>
                  <a:lnTo>
                    <a:pt x="6140" y="107"/>
                  </a:lnTo>
                  <a:lnTo>
                    <a:pt x="6107" y="103"/>
                  </a:lnTo>
                  <a:lnTo>
                    <a:pt x="6075" y="98"/>
                  </a:lnTo>
                  <a:lnTo>
                    <a:pt x="6045" y="91"/>
                  </a:lnTo>
                  <a:lnTo>
                    <a:pt x="6014" y="85"/>
                  </a:lnTo>
                  <a:lnTo>
                    <a:pt x="5985" y="77"/>
                  </a:lnTo>
                  <a:lnTo>
                    <a:pt x="5958" y="68"/>
                  </a:lnTo>
                  <a:lnTo>
                    <a:pt x="5930" y="59"/>
                  </a:lnTo>
                  <a:lnTo>
                    <a:pt x="5904" y="50"/>
                  </a:lnTo>
                  <a:lnTo>
                    <a:pt x="5879" y="39"/>
                  </a:lnTo>
                  <a:lnTo>
                    <a:pt x="5856" y="29"/>
                  </a:lnTo>
                  <a:lnTo>
                    <a:pt x="5834" y="17"/>
                  </a:lnTo>
                  <a:lnTo>
                    <a:pt x="5834" y="0"/>
                  </a:lnTo>
                  <a:lnTo>
                    <a:pt x="5834" y="0"/>
                  </a:lnTo>
                  <a:lnTo>
                    <a:pt x="5819" y="8"/>
                  </a:lnTo>
                  <a:lnTo>
                    <a:pt x="5819" y="8"/>
                  </a:lnTo>
                  <a:lnTo>
                    <a:pt x="5813" y="5"/>
                  </a:lnTo>
                  <a:lnTo>
                    <a:pt x="5813" y="13"/>
                  </a:lnTo>
                  <a:lnTo>
                    <a:pt x="5813" y="13"/>
                  </a:lnTo>
                  <a:lnTo>
                    <a:pt x="5790" y="25"/>
                  </a:lnTo>
                  <a:lnTo>
                    <a:pt x="5767" y="36"/>
                  </a:lnTo>
                  <a:lnTo>
                    <a:pt x="5742" y="46"/>
                  </a:lnTo>
                  <a:lnTo>
                    <a:pt x="5716" y="56"/>
                  </a:lnTo>
                  <a:lnTo>
                    <a:pt x="5689" y="66"/>
                  </a:lnTo>
                  <a:lnTo>
                    <a:pt x="5660" y="75"/>
                  </a:lnTo>
                  <a:lnTo>
                    <a:pt x="5630" y="82"/>
                  </a:lnTo>
                  <a:lnTo>
                    <a:pt x="5599" y="90"/>
                  </a:lnTo>
                  <a:lnTo>
                    <a:pt x="5568" y="97"/>
                  </a:lnTo>
                  <a:lnTo>
                    <a:pt x="5536" y="102"/>
                  </a:lnTo>
                  <a:lnTo>
                    <a:pt x="5502" y="107"/>
                  </a:lnTo>
                  <a:lnTo>
                    <a:pt x="5469" y="111"/>
                  </a:lnTo>
                  <a:lnTo>
                    <a:pt x="5434" y="114"/>
                  </a:lnTo>
                  <a:lnTo>
                    <a:pt x="5398" y="117"/>
                  </a:lnTo>
                  <a:lnTo>
                    <a:pt x="5362" y="118"/>
                  </a:lnTo>
                  <a:lnTo>
                    <a:pt x="5326" y="118"/>
                  </a:lnTo>
                  <a:lnTo>
                    <a:pt x="5326" y="118"/>
                  </a:lnTo>
                  <a:lnTo>
                    <a:pt x="5289" y="118"/>
                  </a:lnTo>
                  <a:lnTo>
                    <a:pt x="5254" y="117"/>
                  </a:lnTo>
                  <a:lnTo>
                    <a:pt x="5219" y="114"/>
                  </a:lnTo>
                  <a:lnTo>
                    <a:pt x="5185" y="112"/>
                  </a:lnTo>
                  <a:lnTo>
                    <a:pt x="5151" y="107"/>
                  </a:lnTo>
                  <a:lnTo>
                    <a:pt x="5118" y="102"/>
                  </a:lnTo>
                  <a:lnTo>
                    <a:pt x="5085" y="97"/>
                  </a:lnTo>
                  <a:lnTo>
                    <a:pt x="5055" y="90"/>
                  </a:lnTo>
                  <a:lnTo>
                    <a:pt x="5024" y="83"/>
                  </a:lnTo>
                  <a:lnTo>
                    <a:pt x="4995" y="76"/>
                  </a:lnTo>
                  <a:lnTo>
                    <a:pt x="4967" y="67"/>
                  </a:lnTo>
                  <a:lnTo>
                    <a:pt x="4939" y="57"/>
                  </a:lnTo>
                  <a:lnTo>
                    <a:pt x="4913" y="48"/>
                  </a:lnTo>
                  <a:lnTo>
                    <a:pt x="4888" y="38"/>
                  </a:lnTo>
                  <a:lnTo>
                    <a:pt x="4864" y="27"/>
                  </a:lnTo>
                  <a:lnTo>
                    <a:pt x="4843" y="15"/>
                  </a:lnTo>
                  <a:lnTo>
                    <a:pt x="4843" y="15"/>
                  </a:lnTo>
                  <a:lnTo>
                    <a:pt x="4821" y="27"/>
                  </a:lnTo>
                  <a:lnTo>
                    <a:pt x="4797" y="38"/>
                  </a:lnTo>
                  <a:lnTo>
                    <a:pt x="4772" y="48"/>
                  </a:lnTo>
                  <a:lnTo>
                    <a:pt x="4746" y="57"/>
                  </a:lnTo>
                  <a:lnTo>
                    <a:pt x="4718" y="67"/>
                  </a:lnTo>
                  <a:lnTo>
                    <a:pt x="4690" y="76"/>
                  </a:lnTo>
                  <a:lnTo>
                    <a:pt x="4661" y="83"/>
                  </a:lnTo>
                  <a:lnTo>
                    <a:pt x="4631" y="90"/>
                  </a:lnTo>
                  <a:lnTo>
                    <a:pt x="4600" y="97"/>
                  </a:lnTo>
                  <a:lnTo>
                    <a:pt x="4567" y="102"/>
                  </a:lnTo>
                  <a:lnTo>
                    <a:pt x="4534" y="107"/>
                  </a:lnTo>
                  <a:lnTo>
                    <a:pt x="4501" y="112"/>
                  </a:lnTo>
                  <a:lnTo>
                    <a:pt x="4467" y="114"/>
                  </a:lnTo>
                  <a:lnTo>
                    <a:pt x="4431" y="117"/>
                  </a:lnTo>
                  <a:lnTo>
                    <a:pt x="4396" y="118"/>
                  </a:lnTo>
                  <a:lnTo>
                    <a:pt x="4359" y="118"/>
                  </a:lnTo>
                  <a:lnTo>
                    <a:pt x="4359" y="118"/>
                  </a:lnTo>
                  <a:lnTo>
                    <a:pt x="4323" y="118"/>
                  </a:lnTo>
                  <a:lnTo>
                    <a:pt x="4287" y="117"/>
                  </a:lnTo>
                  <a:lnTo>
                    <a:pt x="4252" y="114"/>
                  </a:lnTo>
                  <a:lnTo>
                    <a:pt x="4219" y="112"/>
                  </a:lnTo>
                  <a:lnTo>
                    <a:pt x="4185" y="107"/>
                  </a:lnTo>
                  <a:lnTo>
                    <a:pt x="4152" y="102"/>
                  </a:lnTo>
                  <a:lnTo>
                    <a:pt x="4120" y="97"/>
                  </a:lnTo>
                  <a:lnTo>
                    <a:pt x="4088" y="90"/>
                  </a:lnTo>
                  <a:lnTo>
                    <a:pt x="4057" y="83"/>
                  </a:lnTo>
                  <a:lnTo>
                    <a:pt x="4029" y="76"/>
                  </a:lnTo>
                  <a:lnTo>
                    <a:pt x="4001" y="67"/>
                  </a:lnTo>
                  <a:lnTo>
                    <a:pt x="3974" y="57"/>
                  </a:lnTo>
                  <a:lnTo>
                    <a:pt x="3947" y="48"/>
                  </a:lnTo>
                  <a:lnTo>
                    <a:pt x="3922" y="38"/>
                  </a:lnTo>
                  <a:lnTo>
                    <a:pt x="3898" y="27"/>
                  </a:lnTo>
                  <a:lnTo>
                    <a:pt x="3877" y="15"/>
                  </a:lnTo>
                  <a:lnTo>
                    <a:pt x="3877" y="15"/>
                  </a:lnTo>
                  <a:lnTo>
                    <a:pt x="3854" y="27"/>
                  </a:lnTo>
                  <a:lnTo>
                    <a:pt x="3831" y="38"/>
                  </a:lnTo>
                  <a:lnTo>
                    <a:pt x="3806" y="48"/>
                  </a:lnTo>
                  <a:lnTo>
                    <a:pt x="3780" y="57"/>
                  </a:lnTo>
                  <a:lnTo>
                    <a:pt x="3753" y="67"/>
                  </a:lnTo>
                  <a:lnTo>
                    <a:pt x="3724" y="76"/>
                  </a:lnTo>
                  <a:lnTo>
                    <a:pt x="3695" y="83"/>
                  </a:lnTo>
                  <a:lnTo>
                    <a:pt x="3664" y="90"/>
                  </a:lnTo>
                  <a:lnTo>
                    <a:pt x="3634" y="97"/>
                  </a:lnTo>
                  <a:lnTo>
                    <a:pt x="3601" y="102"/>
                  </a:lnTo>
                  <a:lnTo>
                    <a:pt x="3569" y="107"/>
                  </a:lnTo>
                  <a:lnTo>
                    <a:pt x="3535" y="112"/>
                  </a:lnTo>
                  <a:lnTo>
                    <a:pt x="3500" y="114"/>
                  </a:lnTo>
                  <a:lnTo>
                    <a:pt x="3465" y="117"/>
                  </a:lnTo>
                  <a:lnTo>
                    <a:pt x="3429" y="118"/>
                  </a:lnTo>
                  <a:lnTo>
                    <a:pt x="3393" y="118"/>
                  </a:lnTo>
                  <a:lnTo>
                    <a:pt x="3393" y="118"/>
                  </a:lnTo>
                  <a:lnTo>
                    <a:pt x="3357" y="118"/>
                  </a:lnTo>
                  <a:lnTo>
                    <a:pt x="3321" y="117"/>
                  </a:lnTo>
                  <a:lnTo>
                    <a:pt x="3286" y="114"/>
                  </a:lnTo>
                  <a:lnTo>
                    <a:pt x="3252" y="112"/>
                  </a:lnTo>
                  <a:lnTo>
                    <a:pt x="3218" y="107"/>
                  </a:lnTo>
                  <a:lnTo>
                    <a:pt x="3185" y="102"/>
                  </a:lnTo>
                  <a:lnTo>
                    <a:pt x="3154" y="97"/>
                  </a:lnTo>
                  <a:lnTo>
                    <a:pt x="3122" y="90"/>
                  </a:lnTo>
                  <a:lnTo>
                    <a:pt x="3092" y="83"/>
                  </a:lnTo>
                  <a:lnTo>
                    <a:pt x="3062" y="76"/>
                  </a:lnTo>
                  <a:lnTo>
                    <a:pt x="3034" y="67"/>
                  </a:lnTo>
                  <a:lnTo>
                    <a:pt x="3007" y="57"/>
                  </a:lnTo>
                  <a:lnTo>
                    <a:pt x="2980" y="48"/>
                  </a:lnTo>
                  <a:lnTo>
                    <a:pt x="2957" y="38"/>
                  </a:lnTo>
                  <a:lnTo>
                    <a:pt x="2933" y="27"/>
                  </a:lnTo>
                  <a:lnTo>
                    <a:pt x="2911" y="15"/>
                  </a:lnTo>
                  <a:lnTo>
                    <a:pt x="2911" y="15"/>
                  </a:lnTo>
                  <a:lnTo>
                    <a:pt x="2888" y="27"/>
                  </a:lnTo>
                  <a:lnTo>
                    <a:pt x="2865" y="38"/>
                  </a:lnTo>
                  <a:lnTo>
                    <a:pt x="2840" y="48"/>
                  </a:lnTo>
                  <a:lnTo>
                    <a:pt x="2814" y="57"/>
                  </a:lnTo>
                  <a:lnTo>
                    <a:pt x="2787" y="67"/>
                  </a:lnTo>
                  <a:lnTo>
                    <a:pt x="2758" y="76"/>
                  </a:lnTo>
                  <a:lnTo>
                    <a:pt x="2729" y="83"/>
                  </a:lnTo>
                  <a:lnTo>
                    <a:pt x="2698" y="90"/>
                  </a:lnTo>
                  <a:lnTo>
                    <a:pt x="2667" y="97"/>
                  </a:lnTo>
                  <a:lnTo>
                    <a:pt x="2635" y="102"/>
                  </a:lnTo>
                  <a:lnTo>
                    <a:pt x="2603" y="107"/>
                  </a:lnTo>
                  <a:lnTo>
                    <a:pt x="2569" y="112"/>
                  </a:lnTo>
                  <a:lnTo>
                    <a:pt x="2534" y="114"/>
                  </a:lnTo>
                  <a:lnTo>
                    <a:pt x="2499" y="117"/>
                  </a:lnTo>
                  <a:lnTo>
                    <a:pt x="2463" y="118"/>
                  </a:lnTo>
                  <a:lnTo>
                    <a:pt x="2427" y="118"/>
                  </a:lnTo>
                  <a:lnTo>
                    <a:pt x="2427" y="118"/>
                  </a:lnTo>
                  <a:lnTo>
                    <a:pt x="2391" y="118"/>
                  </a:lnTo>
                  <a:lnTo>
                    <a:pt x="2355" y="117"/>
                  </a:lnTo>
                  <a:lnTo>
                    <a:pt x="2321" y="114"/>
                  </a:lnTo>
                  <a:lnTo>
                    <a:pt x="2286" y="112"/>
                  </a:lnTo>
                  <a:lnTo>
                    <a:pt x="2252" y="107"/>
                  </a:lnTo>
                  <a:lnTo>
                    <a:pt x="2219" y="102"/>
                  </a:lnTo>
                  <a:lnTo>
                    <a:pt x="2188" y="97"/>
                  </a:lnTo>
                  <a:lnTo>
                    <a:pt x="2156" y="90"/>
                  </a:lnTo>
                  <a:lnTo>
                    <a:pt x="2126" y="83"/>
                  </a:lnTo>
                  <a:lnTo>
                    <a:pt x="2096" y="76"/>
                  </a:lnTo>
                  <a:lnTo>
                    <a:pt x="2068" y="67"/>
                  </a:lnTo>
                  <a:lnTo>
                    <a:pt x="2041" y="57"/>
                  </a:lnTo>
                  <a:lnTo>
                    <a:pt x="2015" y="48"/>
                  </a:lnTo>
                  <a:lnTo>
                    <a:pt x="1990" y="38"/>
                  </a:lnTo>
                  <a:lnTo>
                    <a:pt x="1967" y="27"/>
                  </a:lnTo>
                  <a:lnTo>
                    <a:pt x="1944" y="15"/>
                  </a:lnTo>
                  <a:lnTo>
                    <a:pt x="1944" y="15"/>
                  </a:lnTo>
                  <a:lnTo>
                    <a:pt x="1922" y="27"/>
                  </a:lnTo>
                  <a:lnTo>
                    <a:pt x="1898" y="38"/>
                  </a:lnTo>
                  <a:lnTo>
                    <a:pt x="1873" y="48"/>
                  </a:lnTo>
                  <a:lnTo>
                    <a:pt x="1848" y="57"/>
                  </a:lnTo>
                  <a:lnTo>
                    <a:pt x="1821" y="67"/>
                  </a:lnTo>
                  <a:lnTo>
                    <a:pt x="1792" y="76"/>
                  </a:lnTo>
                  <a:lnTo>
                    <a:pt x="1763" y="83"/>
                  </a:lnTo>
                  <a:lnTo>
                    <a:pt x="1733" y="90"/>
                  </a:lnTo>
                  <a:lnTo>
                    <a:pt x="1701" y="97"/>
                  </a:lnTo>
                  <a:lnTo>
                    <a:pt x="1669" y="102"/>
                  </a:lnTo>
                  <a:lnTo>
                    <a:pt x="1636" y="107"/>
                  </a:lnTo>
                  <a:lnTo>
                    <a:pt x="1602" y="112"/>
                  </a:lnTo>
                  <a:lnTo>
                    <a:pt x="1568" y="114"/>
                  </a:lnTo>
                  <a:lnTo>
                    <a:pt x="1533" y="117"/>
                  </a:lnTo>
                  <a:lnTo>
                    <a:pt x="1497" y="118"/>
                  </a:lnTo>
                  <a:lnTo>
                    <a:pt x="1461" y="118"/>
                  </a:lnTo>
                  <a:lnTo>
                    <a:pt x="1461" y="118"/>
                  </a:lnTo>
                  <a:lnTo>
                    <a:pt x="1424" y="118"/>
                  </a:lnTo>
                  <a:lnTo>
                    <a:pt x="1390" y="117"/>
                  </a:lnTo>
                  <a:lnTo>
                    <a:pt x="1355" y="114"/>
                  </a:lnTo>
                  <a:lnTo>
                    <a:pt x="1320" y="112"/>
                  </a:lnTo>
                  <a:lnTo>
                    <a:pt x="1286" y="107"/>
                  </a:lnTo>
                  <a:lnTo>
                    <a:pt x="1253" y="102"/>
                  </a:lnTo>
                  <a:lnTo>
                    <a:pt x="1221" y="97"/>
                  </a:lnTo>
                  <a:lnTo>
                    <a:pt x="1190" y="90"/>
                  </a:lnTo>
                  <a:lnTo>
                    <a:pt x="1160" y="83"/>
                  </a:lnTo>
                  <a:lnTo>
                    <a:pt x="1130" y="76"/>
                  </a:lnTo>
                  <a:lnTo>
                    <a:pt x="1102" y="67"/>
                  </a:lnTo>
                  <a:lnTo>
                    <a:pt x="1075" y="57"/>
                  </a:lnTo>
                  <a:lnTo>
                    <a:pt x="1049" y="48"/>
                  </a:lnTo>
                  <a:lnTo>
                    <a:pt x="1024" y="38"/>
                  </a:lnTo>
                  <a:lnTo>
                    <a:pt x="1001" y="27"/>
                  </a:lnTo>
                  <a:lnTo>
                    <a:pt x="978" y="15"/>
                  </a:lnTo>
                  <a:lnTo>
                    <a:pt x="978" y="15"/>
                  </a:lnTo>
                  <a:lnTo>
                    <a:pt x="956" y="27"/>
                  </a:lnTo>
                  <a:lnTo>
                    <a:pt x="932" y="38"/>
                  </a:lnTo>
                  <a:lnTo>
                    <a:pt x="907" y="48"/>
                  </a:lnTo>
                  <a:lnTo>
                    <a:pt x="881" y="57"/>
                  </a:lnTo>
                  <a:lnTo>
                    <a:pt x="854" y="67"/>
                  </a:lnTo>
                  <a:lnTo>
                    <a:pt x="825" y="76"/>
                  </a:lnTo>
                  <a:lnTo>
                    <a:pt x="796" y="83"/>
                  </a:lnTo>
                  <a:lnTo>
                    <a:pt x="767" y="90"/>
                  </a:lnTo>
                  <a:lnTo>
                    <a:pt x="735" y="97"/>
                  </a:lnTo>
                  <a:lnTo>
                    <a:pt x="702" y="102"/>
                  </a:lnTo>
                  <a:lnTo>
                    <a:pt x="670" y="107"/>
                  </a:lnTo>
                  <a:lnTo>
                    <a:pt x="636" y="112"/>
                  </a:lnTo>
                  <a:lnTo>
                    <a:pt x="602" y="114"/>
                  </a:lnTo>
                  <a:lnTo>
                    <a:pt x="566" y="117"/>
                  </a:lnTo>
                  <a:lnTo>
                    <a:pt x="531" y="118"/>
                  </a:lnTo>
                  <a:lnTo>
                    <a:pt x="494" y="118"/>
                  </a:lnTo>
                  <a:lnTo>
                    <a:pt x="494" y="118"/>
                  </a:lnTo>
                  <a:lnTo>
                    <a:pt x="458" y="118"/>
                  </a:lnTo>
                  <a:lnTo>
                    <a:pt x="424" y="117"/>
                  </a:lnTo>
                  <a:lnTo>
                    <a:pt x="388" y="114"/>
                  </a:lnTo>
                  <a:lnTo>
                    <a:pt x="354" y="112"/>
                  </a:lnTo>
                  <a:lnTo>
                    <a:pt x="320" y="107"/>
                  </a:lnTo>
                  <a:lnTo>
                    <a:pt x="287" y="102"/>
                  </a:lnTo>
                  <a:lnTo>
                    <a:pt x="255" y="97"/>
                  </a:lnTo>
                  <a:lnTo>
                    <a:pt x="223" y="90"/>
                  </a:lnTo>
                  <a:lnTo>
                    <a:pt x="194" y="83"/>
                  </a:lnTo>
                  <a:lnTo>
                    <a:pt x="164" y="76"/>
                  </a:lnTo>
                  <a:lnTo>
                    <a:pt x="136" y="67"/>
                  </a:lnTo>
                  <a:lnTo>
                    <a:pt x="109" y="57"/>
                  </a:lnTo>
                  <a:lnTo>
                    <a:pt x="83" y="48"/>
                  </a:lnTo>
                  <a:lnTo>
                    <a:pt x="58" y="38"/>
                  </a:lnTo>
                  <a:lnTo>
                    <a:pt x="34" y="27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0" y="20"/>
                  </a:lnTo>
                  <a:lnTo>
                    <a:pt x="0" y="14658"/>
                  </a:lnTo>
                  <a:lnTo>
                    <a:pt x="26124" y="14658"/>
                  </a:lnTo>
                  <a:close/>
                </a:path>
              </a:pathLst>
            </a:custGeom>
            <a:solidFill>
              <a:srgbClr val="3486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8" name="Groupe 36"/>
          <p:cNvGrpSpPr/>
          <p:nvPr/>
        </p:nvGrpSpPr>
        <p:grpSpPr>
          <a:xfrm>
            <a:off x="1309427" y="1440412"/>
            <a:ext cx="3932541" cy="1466762"/>
            <a:chOff x="1309427" y="1853990"/>
            <a:chExt cx="3932541" cy="1037117"/>
          </a:xfrm>
        </p:grpSpPr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1309427" y="1853990"/>
              <a:ext cx="3800037" cy="1037117"/>
            </a:xfrm>
            <a:custGeom>
              <a:avLst/>
              <a:gdLst>
                <a:gd name="T0" fmla="*/ 13301 w 13937"/>
                <a:gd name="T1" fmla="*/ 2802 h 3801"/>
                <a:gd name="T2" fmla="*/ 13152 w 13937"/>
                <a:gd name="T3" fmla="*/ 1719 h 3801"/>
                <a:gd name="T4" fmla="*/ 12258 w 13937"/>
                <a:gd name="T5" fmla="*/ 1475 h 3801"/>
                <a:gd name="T6" fmla="*/ 12258 w 13937"/>
                <a:gd name="T7" fmla="*/ 2049 h 3801"/>
                <a:gd name="T8" fmla="*/ 11849 w 13937"/>
                <a:gd name="T9" fmla="*/ 2229 h 3801"/>
                <a:gd name="T10" fmla="*/ 11997 w 13937"/>
                <a:gd name="T11" fmla="*/ 3076 h 3801"/>
                <a:gd name="T12" fmla="*/ 11289 w 13937"/>
                <a:gd name="T13" fmla="*/ 2545 h 3801"/>
                <a:gd name="T14" fmla="*/ 10842 w 13937"/>
                <a:gd name="T15" fmla="*/ 2802 h 3801"/>
                <a:gd name="T16" fmla="*/ 11103 w 13937"/>
                <a:gd name="T17" fmla="*/ 3250 h 3801"/>
                <a:gd name="T18" fmla="*/ 10730 w 13937"/>
                <a:gd name="T19" fmla="*/ 3511 h 3801"/>
                <a:gd name="T20" fmla="*/ 10581 w 13937"/>
                <a:gd name="T21" fmla="*/ 3133 h 3801"/>
                <a:gd name="T22" fmla="*/ 9985 w 13937"/>
                <a:gd name="T23" fmla="*/ 2929 h 3801"/>
                <a:gd name="T24" fmla="*/ 9687 w 13937"/>
                <a:gd name="T25" fmla="*/ 2049 h 3801"/>
                <a:gd name="T26" fmla="*/ 9687 w 13937"/>
                <a:gd name="T27" fmla="*/ 895 h 3801"/>
                <a:gd name="T28" fmla="*/ 9687 w 13937"/>
                <a:gd name="T29" fmla="*/ 702 h 3801"/>
                <a:gd name="T30" fmla="*/ 9687 w 13937"/>
                <a:gd name="T31" fmla="*/ 321 h 3801"/>
                <a:gd name="T32" fmla="*/ 9091 w 13937"/>
                <a:gd name="T33" fmla="*/ 0 h 3801"/>
                <a:gd name="T34" fmla="*/ 7675 w 13937"/>
                <a:gd name="T35" fmla="*/ 470 h 3801"/>
                <a:gd name="T36" fmla="*/ 6185 w 13937"/>
                <a:gd name="T37" fmla="*/ 1248 h 3801"/>
                <a:gd name="T38" fmla="*/ 5514 w 13937"/>
                <a:gd name="T39" fmla="*/ 2049 h 3801"/>
                <a:gd name="T40" fmla="*/ 5436 w 13937"/>
                <a:gd name="T41" fmla="*/ 2009 h 3801"/>
                <a:gd name="T42" fmla="*/ 5813 w 13937"/>
                <a:gd name="T43" fmla="*/ 2802 h 3801"/>
                <a:gd name="T44" fmla="*/ 6856 w 13937"/>
                <a:gd name="T45" fmla="*/ 3133 h 3801"/>
                <a:gd name="T46" fmla="*/ 5365 w 13937"/>
                <a:gd name="T47" fmla="*/ 2929 h 3801"/>
                <a:gd name="T48" fmla="*/ 4545 w 13937"/>
                <a:gd name="T49" fmla="*/ 2441 h 3801"/>
                <a:gd name="T50" fmla="*/ 4045 w 13937"/>
                <a:gd name="T51" fmla="*/ 1287 h 3801"/>
                <a:gd name="T52" fmla="*/ 3763 w 13937"/>
                <a:gd name="T53" fmla="*/ 1141 h 3801"/>
                <a:gd name="T54" fmla="*/ 2198 w 13937"/>
                <a:gd name="T55" fmla="*/ 1871 h 3801"/>
                <a:gd name="T56" fmla="*/ 1341 w 13937"/>
                <a:gd name="T57" fmla="*/ 3133 h 3801"/>
                <a:gd name="T58" fmla="*/ 0 w 13937"/>
                <a:gd name="T59" fmla="*/ 3763 h 3801"/>
                <a:gd name="T60" fmla="*/ 3818 w 13937"/>
                <a:gd name="T61" fmla="*/ 3795 h 3801"/>
                <a:gd name="T62" fmla="*/ 3166 w 13937"/>
                <a:gd name="T63" fmla="*/ 2802 h 3801"/>
                <a:gd name="T64" fmla="*/ 4651 w 13937"/>
                <a:gd name="T65" fmla="*/ 3801 h 3801"/>
                <a:gd name="T66" fmla="*/ 13937 w 13937"/>
                <a:gd name="T67" fmla="*/ 3764 h 3801"/>
                <a:gd name="T68" fmla="*/ 13301 w 13937"/>
                <a:gd name="T69" fmla="*/ 2802 h 3801"/>
                <a:gd name="T70" fmla="*/ 8532 w 13937"/>
                <a:gd name="T71" fmla="*/ 2223 h 3801"/>
                <a:gd name="T72" fmla="*/ 7862 w 13937"/>
                <a:gd name="T73" fmla="*/ 3133 h 3801"/>
                <a:gd name="T74" fmla="*/ 8048 w 13937"/>
                <a:gd name="T75" fmla="*/ 1861 h 3801"/>
                <a:gd name="T76" fmla="*/ 9016 w 13937"/>
                <a:gd name="T77" fmla="*/ 588 h 3801"/>
                <a:gd name="T78" fmla="*/ 8830 w 13937"/>
                <a:gd name="T79" fmla="*/ 1433 h 3801"/>
                <a:gd name="T80" fmla="*/ 9202 w 13937"/>
                <a:gd name="T81" fmla="*/ 2545 h 3801"/>
                <a:gd name="T82" fmla="*/ 8532 w 13937"/>
                <a:gd name="T83" fmla="*/ 2223 h 3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937" h="3801">
                  <a:moveTo>
                    <a:pt x="13301" y="2802"/>
                  </a:moveTo>
                  <a:lnTo>
                    <a:pt x="13152" y="1719"/>
                  </a:lnTo>
                  <a:lnTo>
                    <a:pt x="12258" y="1475"/>
                  </a:lnTo>
                  <a:lnTo>
                    <a:pt x="12258" y="2049"/>
                  </a:lnTo>
                  <a:lnTo>
                    <a:pt x="11849" y="2229"/>
                  </a:lnTo>
                  <a:lnTo>
                    <a:pt x="11997" y="3076"/>
                  </a:lnTo>
                  <a:lnTo>
                    <a:pt x="11289" y="2545"/>
                  </a:lnTo>
                  <a:lnTo>
                    <a:pt x="10842" y="2802"/>
                  </a:lnTo>
                  <a:lnTo>
                    <a:pt x="11103" y="3250"/>
                  </a:lnTo>
                  <a:lnTo>
                    <a:pt x="10730" y="3511"/>
                  </a:lnTo>
                  <a:lnTo>
                    <a:pt x="10581" y="3133"/>
                  </a:lnTo>
                  <a:lnTo>
                    <a:pt x="9985" y="2929"/>
                  </a:lnTo>
                  <a:lnTo>
                    <a:pt x="9687" y="2049"/>
                  </a:lnTo>
                  <a:lnTo>
                    <a:pt x="9687" y="895"/>
                  </a:lnTo>
                  <a:lnTo>
                    <a:pt x="9687" y="702"/>
                  </a:lnTo>
                  <a:lnTo>
                    <a:pt x="9687" y="321"/>
                  </a:lnTo>
                  <a:lnTo>
                    <a:pt x="9091" y="0"/>
                  </a:lnTo>
                  <a:lnTo>
                    <a:pt x="7675" y="470"/>
                  </a:lnTo>
                  <a:lnTo>
                    <a:pt x="6185" y="1248"/>
                  </a:lnTo>
                  <a:lnTo>
                    <a:pt x="5514" y="2049"/>
                  </a:lnTo>
                  <a:lnTo>
                    <a:pt x="5436" y="2009"/>
                  </a:lnTo>
                  <a:lnTo>
                    <a:pt x="5813" y="2802"/>
                  </a:lnTo>
                  <a:lnTo>
                    <a:pt x="6856" y="3133"/>
                  </a:lnTo>
                  <a:lnTo>
                    <a:pt x="5365" y="2929"/>
                  </a:lnTo>
                  <a:lnTo>
                    <a:pt x="4545" y="2441"/>
                  </a:lnTo>
                  <a:lnTo>
                    <a:pt x="4045" y="1287"/>
                  </a:lnTo>
                  <a:lnTo>
                    <a:pt x="3763" y="1141"/>
                  </a:lnTo>
                  <a:lnTo>
                    <a:pt x="2198" y="1871"/>
                  </a:lnTo>
                  <a:lnTo>
                    <a:pt x="1341" y="3133"/>
                  </a:lnTo>
                  <a:lnTo>
                    <a:pt x="0" y="3763"/>
                  </a:lnTo>
                  <a:lnTo>
                    <a:pt x="3818" y="3795"/>
                  </a:lnTo>
                  <a:lnTo>
                    <a:pt x="3166" y="2802"/>
                  </a:lnTo>
                  <a:lnTo>
                    <a:pt x="4651" y="3801"/>
                  </a:lnTo>
                  <a:lnTo>
                    <a:pt x="13937" y="3764"/>
                  </a:lnTo>
                  <a:lnTo>
                    <a:pt x="13301" y="2802"/>
                  </a:lnTo>
                  <a:close/>
                  <a:moveTo>
                    <a:pt x="8532" y="2223"/>
                  </a:moveTo>
                  <a:lnTo>
                    <a:pt x="7862" y="3133"/>
                  </a:lnTo>
                  <a:lnTo>
                    <a:pt x="8048" y="1861"/>
                  </a:lnTo>
                  <a:lnTo>
                    <a:pt x="9016" y="588"/>
                  </a:lnTo>
                  <a:lnTo>
                    <a:pt x="8830" y="1433"/>
                  </a:lnTo>
                  <a:lnTo>
                    <a:pt x="9202" y="2545"/>
                  </a:lnTo>
                  <a:lnTo>
                    <a:pt x="8532" y="22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2413614" y="2205693"/>
              <a:ext cx="765569" cy="503836"/>
            </a:xfrm>
            <a:custGeom>
              <a:avLst/>
              <a:gdLst>
                <a:gd name="T0" fmla="*/ 1320 w 2811"/>
                <a:gd name="T1" fmla="*/ 1642 h 1846"/>
                <a:gd name="T2" fmla="*/ 2811 w 2811"/>
                <a:gd name="T3" fmla="*/ 1846 h 1846"/>
                <a:gd name="T4" fmla="*/ 1768 w 2811"/>
                <a:gd name="T5" fmla="*/ 1515 h 1846"/>
                <a:gd name="T6" fmla="*/ 1391 w 2811"/>
                <a:gd name="T7" fmla="*/ 722 h 1846"/>
                <a:gd name="T8" fmla="*/ 0 w 2811"/>
                <a:gd name="T9" fmla="*/ 0 h 1846"/>
                <a:gd name="T10" fmla="*/ 500 w 2811"/>
                <a:gd name="T11" fmla="*/ 1154 h 1846"/>
                <a:gd name="T12" fmla="*/ 1320 w 2811"/>
                <a:gd name="T13" fmla="*/ 1642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11" h="1846">
                  <a:moveTo>
                    <a:pt x="1320" y="1642"/>
                  </a:moveTo>
                  <a:lnTo>
                    <a:pt x="2811" y="1846"/>
                  </a:lnTo>
                  <a:lnTo>
                    <a:pt x="1768" y="1515"/>
                  </a:lnTo>
                  <a:lnTo>
                    <a:pt x="1391" y="722"/>
                  </a:lnTo>
                  <a:lnTo>
                    <a:pt x="0" y="0"/>
                  </a:lnTo>
                  <a:lnTo>
                    <a:pt x="500" y="1154"/>
                  </a:lnTo>
                  <a:lnTo>
                    <a:pt x="1320" y="1642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2173146" y="2617923"/>
              <a:ext cx="405686" cy="273184"/>
            </a:xfrm>
            <a:custGeom>
              <a:avLst/>
              <a:gdLst>
                <a:gd name="T0" fmla="*/ 652 w 1485"/>
                <a:gd name="T1" fmla="*/ 993 h 999"/>
                <a:gd name="T2" fmla="*/ 1485 w 1485"/>
                <a:gd name="T3" fmla="*/ 999 h 999"/>
                <a:gd name="T4" fmla="*/ 0 w 1485"/>
                <a:gd name="T5" fmla="*/ 0 h 999"/>
                <a:gd name="T6" fmla="*/ 652 w 1485"/>
                <a:gd name="T7" fmla="*/ 993 h 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85" h="999">
                  <a:moveTo>
                    <a:pt x="652" y="993"/>
                  </a:moveTo>
                  <a:lnTo>
                    <a:pt x="1485" y="999"/>
                  </a:lnTo>
                  <a:lnTo>
                    <a:pt x="0" y="0"/>
                  </a:lnTo>
                  <a:lnTo>
                    <a:pt x="652" y="993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454003" y="2014301"/>
              <a:ext cx="364791" cy="695229"/>
            </a:xfrm>
            <a:custGeom>
              <a:avLst/>
              <a:gdLst>
                <a:gd name="T0" fmla="*/ 1154 w 1340"/>
                <a:gd name="T1" fmla="*/ 0 h 2545"/>
                <a:gd name="T2" fmla="*/ 186 w 1340"/>
                <a:gd name="T3" fmla="*/ 1273 h 2545"/>
                <a:gd name="T4" fmla="*/ 0 w 1340"/>
                <a:gd name="T5" fmla="*/ 2545 h 2545"/>
                <a:gd name="T6" fmla="*/ 670 w 1340"/>
                <a:gd name="T7" fmla="*/ 1635 h 2545"/>
                <a:gd name="T8" fmla="*/ 1340 w 1340"/>
                <a:gd name="T9" fmla="*/ 1957 h 2545"/>
                <a:gd name="T10" fmla="*/ 968 w 1340"/>
                <a:gd name="T11" fmla="*/ 845 h 2545"/>
                <a:gd name="T12" fmla="*/ 1154 w 1340"/>
                <a:gd name="T13" fmla="*/ 0 h 2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0" h="2545">
                  <a:moveTo>
                    <a:pt x="1154" y="0"/>
                  </a:moveTo>
                  <a:lnTo>
                    <a:pt x="186" y="1273"/>
                  </a:lnTo>
                  <a:lnTo>
                    <a:pt x="0" y="2545"/>
                  </a:lnTo>
                  <a:lnTo>
                    <a:pt x="670" y="1635"/>
                  </a:lnTo>
                  <a:lnTo>
                    <a:pt x="1340" y="1957"/>
                  </a:lnTo>
                  <a:lnTo>
                    <a:pt x="968" y="845"/>
                  </a:lnTo>
                  <a:lnTo>
                    <a:pt x="1154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3951296" y="2099364"/>
              <a:ext cx="629796" cy="713223"/>
            </a:xfrm>
            <a:custGeom>
              <a:avLst/>
              <a:gdLst>
                <a:gd name="T0" fmla="*/ 0 w 2310"/>
                <a:gd name="T1" fmla="*/ 0 h 2616"/>
                <a:gd name="T2" fmla="*/ 0 w 2310"/>
                <a:gd name="T3" fmla="*/ 1154 h 2616"/>
                <a:gd name="T4" fmla="*/ 298 w 2310"/>
                <a:gd name="T5" fmla="*/ 2034 h 2616"/>
                <a:gd name="T6" fmla="*/ 894 w 2310"/>
                <a:gd name="T7" fmla="*/ 2238 h 2616"/>
                <a:gd name="T8" fmla="*/ 1043 w 2310"/>
                <a:gd name="T9" fmla="*/ 2616 h 2616"/>
                <a:gd name="T10" fmla="*/ 1416 w 2310"/>
                <a:gd name="T11" fmla="*/ 2355 h 2616"/>
                <a:gd name="T12" fmla="*/ 1155 w 2310"/>
                <a:gd name="T13" fmla="*/ 1907 h 2616"/>
                <a:gd name="T14" fmla="*/ 1602 w 2310"/>
                <a:gd name="T15" fmla="*/ 1650 h 2616"/>
                <a:gd name="T16" fmla="*/ 2310 w 2310"/>
                <a:gd name="T17" fmla="*/ 2181 h 2616"/>
                <a:gd name="T18" fmla="*/ 2162 w 2310"/>
                <a:gd name="T19" fmla="*/ 1334 h 2616"/>
                <a:gd name="T20" fmla="*/ 2124 w 2310"/>
                <a:gd name="T21" fmla="*/ 1350 h 2616"/>
                <a:gd name="T22" fmla="*/ 0 w 2310"/>
                <a:gd name="T23" fmla="*/ 0 h 2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310" h="2616">
                  <a:moveTo>
                    <a:pt x="0" y="0"/>
                  </a:moveTo>
                  <a:lnTo>
                    <a:pt x="0" y="1154"/>
                  </a:lnTo>
                  <a:lnTo>
                    <a:pt x="298" y="2034"/>
                  </a:lnTo>
                  <a:lnTo>
                    <a:pt x="894" y="2238"/>
                  </a:lnTo>
                  <a:lnTo>
                    <a:pt x="1043" y="2616"/>
                  </a:lnTo>
                  <a:lnTo>
                    <a:pt x="1416" y="2355"/>
                  </a:lnTo>
                  <a:lnTo>
                    <a:pt x="1155" y="1907"/>
                  </a:lnTo>
                  <a:lnTo>
                    <a:pt x="1602" y="1650"/>
                  </a:lnTo>
                  <a:lnTo>
                    <a:pt x="2310" y="2181"/>
                  </a:lnTo>
                  <a:lnTo>
                    <a:pt x="2162" y="1334"/>
                  </a:lnTo>
                  <a:lnTo>
                    <a:pt x="2124" y="13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4896807" y="2323473"/>
              <a:ext cx="345161" cy="557819"/>
            </a:xfrm>
            <a:custGeom>
              <a:avLst/>
              <a:gdLst>
                <a:gd name="T0" fmla="*/ 785 w 1267"/>
                <a:gd name="T1" fmla="*/ 2045 h 2049"/>
                <a:gd name="T2" fmla="*/ 1267 w 1267"/>
                <a:gd name="T3" fmla="*/ 2049 h 2049"/>
                <a:gd name="T4" fmla="*/ 634 w 1267"/>
                <a:gd name="T5" fmla="*/ 1083 h 2049"/>
                <a:gd name="T6" fmla="*/ 634 w 1267"/>
                <a:gd name="T7" fmla="*/ 612 h 2049"/>
                <a:gd name="T8" fmla="*/ 0 w 1267"/>
                <a:gd name="T9" fmla="*/ 0 h 2049"/>
                <a:gd name="T10" fmla="*/ 149 w 1267"/>
                <a:gd name="T11" fmla="*/ 1083 h 2049"/>
                <a:gd name="T12" fmla="*/ 785 w 1267"/>
                <a:gd name="T13" fmla="*/ 2045 h 2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7" h="2049">
                  <a:moveTo>
                    <a:pt x="785" y="2045"/>
                  </a:moveTo>
                  <a:lnTo>
                    <a:pt x="1267" y="2049"/>
                  </a:lnTo>
                  <a:lnTo>
                    <a:pt x="634" y="1083"/>
                  </a:lnTo>
                  <a:lnTo>
                    <a:pt x="634" y="612"/>
                  </a:lnTo>
                  <a:lnTo>
                    <a:pt x="0" y="0"/>
                  </a:lnTo>
                  <a:lnTo>
                    <a:pt x="149" y="1083"/>
                  </a:lnTo>
                  <a:lnTo>
                    <a:pt x="785" y="2045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15" name="Rectangle 14"/>
          <p:cNvSpPr/>
          <p:nvPr/>
        </p:nvSpPr>
        <p:spPr>
          <a:xfrm>
            <a:off x="0" y="2936911"/>
            <a:ext cx="5724128" cy="3450788"/>
          </a:xfrm>
          <a:prstGeom prst="rect">
            <a:avLst/>
          </a:prstGeom>
          <a:gradFill flip="none" rotWithShape="1">
            <a:gsLst>
              <a:gs pos="75000">
                <a:srgbClr val="3486BE"/>
              </a:gs>
              <a:gs pos="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schemeClr val="tx1"/>
              </a:solidFill>
            </a:endParaRPr>
          </a:p>
        </p:txBody>
      </p:sp>
      <p:grpSp>
        <p:nvGrpSpPr>
          <p:cNvPr id="16" name="Groupe 38"/>
          <p:cNvGrpSpPr/>
          <p:nvPr/>
        </p:nvGrpSpPr>
        <p:grpSpPr>
          <a:xfrm>
            <a:off x="1306156" y="2881292"/>
            <a:ext cx="3932539" cy="3494136"/>
            <a:chOff x="1306156" y="2881292"/>
            <a:chExt cx="3932539" cy="3494136"/>
          </a:xfrm>
        </p:grpSpPr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306156" y="2881292"/>
              <a:ext cx="3932539" cy="3494136"/>
            </a:xfrm>
            <a:custGeom>
              <a:avLst/>
              <a:gdLst>
                <a:gd name="T0" fmla="*/ 12550 w 14420"/>
                <a:gd name="T1" fmla="*/ 0 h 12810"/>
                <a:gd name="T2" fmla="*/ 12010 w 14420"/>
                <a:gd name="T3" fmla="*/ 826 h 12810"/>
                <a:gd name="T4" fmla="*/ 11275 w 14420"/>
                <a:gd name="T5" fmla="*/ 1971 h 12810"/>
                <a:gd name="T6" fmla="*/ 10859 w 14420"/>
                <a:gd name="T7" fmla="*/ 2649 h 12810"/>
                <a:gd name="T8" fmla="*/ 10390 w 14420"/>
                <a:gd name="T9" fmla="*/ 3426 h 12810"/>
                <a:gd name="T10" fmla="*/ 9323 w 14420"/>
                <a:gd name="T11" fmla="*/ 5160 h 12810"/>
                <a:gd name="T12" fmla="*/ 9410 w 14420"/>
                <a:gd name="T13" fmla="*/ 4985 h 12810"/>
                <a:gd name="T14" fmla="*/ 9593 w 14420"/>
                <a:gd name="T15" fmla="*/ 4561 h 12810"/>
                <a:gd name="T16" fmla="*/ 9783 w 14420"/>
                <a:gd name="T17" fmla="*/ 4063 h 12810"/>
                <a:gd name="T18" fmla="*/ 10059 w 14420"/>
                <a:gd name="T19" fmla="*/ 3264 h 12810"/>
                <a:gd name="T20" fmla="*/ 10437 w 14420"/>
                <a:gd name="T21" fmla="*/ 2111 h 12810"/>
                <a:gd name="T22" fmla="*/ 10554 w 14420"/>
                <a:gd name="T23" fmla="*/ 1775 h 12810"/>
                <a:gd name="T24" fmla="*/ 10605 w 14420"/>
                <a:gd name="T25" fmla="*/ 1661 h 12810"/>
                <a:gd name="T26" fmla="*/ 10717 w 14420"/>
                <a:gd name="T27" fmla="*/ 1458 h 12810"/>
                <a:gd name="T28" fmla="*/ 11036 w 14420"/>
                <a:gd name="T29" fmla="*/ 941 h 12810"/>
                <a:gd name="T30" fmla="*/ 11429 w 14420"/>
                <a:gd name="T31" fmla="*/ 338 h 12810"/>
                <a:gd name="T32" fmla="*/ 11571 w 14420"/>
                <a:gd name="T33" fmla="*/ 129 h 12810"/>
                <a:gd name="T34" fmla="*/ 11625 w 14420"/>
                <a:gd name="T35" fmla="*/ 93 h 12810"/>
                <a:gd name="T36" fmla="*/ 11739 w 14420"/>
                <a:gd name="T37" fmla="*/ 49 h 12810"/>
                <a:gd name="T38" fmla="*/ 6196 w 14420"/>
                <a:gd name="T39" fmla="*/ 0 h 12810"/>
                <a:gd name="T40" fmla="*/ 5913 w 14420"/>
                <a:gd name="T41" fmla="*/ 2045 h 12810"/>
                <a:gd name="T42" fmla="*/ 5731 w 14420"/>
                <a:gd name="T43" fmla="*/ 2327 h 12810"/>
                <a:gd name="T44" fmla="*/ 5622 w 14420"/>
                <a:gd name="T45" fmla="*/ 2521 h 12810"/>
                <a:gd name="T46" fmla="*/ 5588 w 14420"/>
                <a:gd name="T47" fmla="*/ 2594 h 12810"/>
                <a:gd name="T48" fmla="*/ 5547 w 14420"/>
                <a:gd name="T49" fmla="*/ 2774 h 12810"/>
                <a:gd name="T50" fmla="*/ 5497 w 14420"/>
                <a:gd name="T51" fmla="*/ 3120 h 12810"/>
                <a:gd name="T52" fmla="*/ 5428 w 14420"/>
                <a:gd name="T53" fmla="*/ 3786 h 12810"/>
                <a:gd name="T54" fmla="*/ 5373 w 14420"/>
                <a:gd name="T55" fmla="*/ 4492 h 12810"/>
                <a:gd name="T56" fmla="*/ 5248 w 14420"/>
                <a:gd name="T57" fmla="*/ 3628 h 12810"/>
                <a:gd name="T58" fmla="*/ 5169 w 14420"/>
                <a:gd name="T59" fmla="*/ 3136 h 12810"/>
                <a:gd name="T60" fmla="*/ 5151 w 14420"/>
                <a:gd name="T61" fmla="*/ 3038 h 12810"/>
                <a:gd name="T62" fmla="*/ 5148 w 14420"/>
                <a:gd name="T63" fmla="*/ 2939 h 12810"/>
                <a:gd name="T64" fmla="*/ 5178 w 14420"/>
                <a:gd name="T65" fmla="*/ 2655 h 12810"/>
                <a:gd name="T66" fmla="*/ 5194 w 14420"/>
                <a:gd name="T67" fmla="*/ 2461 h 12810"/>
                <a:gd name="T68" fmla="*/ 5190 w 14420"/>
                <a:gd name="T69" fmla="*/ 2364 h 12810"/>
                <a:gd name="T70" fmla="*/ 5168 w 14420"/>
                <a:gd name="T71" fmla="*/ 2282 h 12810"/>
                <a:gd name="T72" fmla="*/ 5136 w 14420"/>
                <a:gd name="T73" fmla="*/ 2219 h 12810"/>
                <a:gd name="T74" fmla="*/ 5037 w 14420"/>
                <a:gd name="T75" fmla="*/ 1957 h 12810"/>
                <a:gd name="T76" fmla="*/ 4869 w 14420"/>
                <a:gd name="T77" fmla="*/ 1450 h 12810"/>
                <a:gd name="T78" fmla="*/ 4602 w 14420"/>
                <a:gd name="T79" fmla="*/ 0 h 12810"/>
                <a:gd name="T80" fmla="*/ 1930 w 14420"/>
                <a:gd name="T81" fmla="*/ 3025 h 12810"/>
                <a:gd name="T82" fmla="*/ 1812 w 14420"/>
                <a:gd name="T83" fmla="*/ 1925 h 12810"/>
                <a:gd name="T84" fmla="*/ 1809 w 14420"/>
                <a:gd name="T85" fmla="*/ 1474 h 12810"/>
                <a:gd name="T86" fmla="*/ 1792 w 14420"/>
                <a:gd name="T87" fmla="*/ 1376 h 12810"/>
                <a:gd name="T88" fmla="*/ 1749 w 14420"/>
                <a:gd name="T89" fmla="*/ 1234 h 12810"/>
                <a:gd name="T90" fmla="*/ 2298 w 14420"/>
                <a:gd name="T91" fmla="*/ 3454 h 12810"/>
                <a:gd name="T92" fmla="*/ 2420 w 14420"/>
                <a:gd name="T93" fmla="*/ 4268 h 12810"/>
                <a:gd name="T94" fmla="*/ 2541 w 14420"/>
                <a:gd name="T95" fmla="*/ 5135 h 12810"/>
                <a:gd name="T96" fmla="*/ 2669 w 14420"/>
                <a:gd name="T97" fmla="*/ 4897 h 12810"/>
                <a:gd name="T98" fmla="*/ 2727 w 14420"/>
                <a:gd name="T99" fmla="*/ 4761 h 12810"/>
                <a:gd name="T100" fmla="*/ 4102 w 14420"/>
                <a:gd name="T101" fmla="*/ 6719 h 12810"/>
                <a:gd name="T102" fmla="*/ 9056 w 14420"/>
                <a:gd name="T103" fmla="*/ 8056 h 12810"/>
                <a:gd name="T104" fmla="*/ 9588 w 14420"/>
                <a:gd name="T105" fmla="*/ 5738 h 12810"/>
                <a:gd name="T106" fmla="*/ 201 w 14420"/>
                <a:gd name="T107" fmla="*/ 63 h 12810"/>
                <a:gd name="T108" fmla="*/ 3750 w 14420"/>
                <a:gd name="T109" fmla="*/ 5952 h 12810"/>
                <a:gd name="T110" fmla="*/ 4027 w 14420"/>
                <a:gd name="T111" fmla="*/ 5448 h 12810"/>
                <a:gd name="T112" fmla="*/ 6228 w 14420"/>
                <a:gd name="T113" fmla="*/ 11741 h 12810"/>
                <a:gd name="T114" fmla="*/ 6832 w 14420"/>
                <a:gd name="T115" fmla="*/ 7273 h 12810"/>
                <a:gd name="T116" fmla="*/ 7638 w 14420"/>
                <a:gd name="T117" fmla="*/ 2479 h 12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420" h="12810">
                  <a:moveTo>
                    <a:pt x="13965" y="0"/>
                  </a:moveTo>
                  <a:lnTo>
                    <a:pt x="12141" y="1950"/>
                  </a:lnTo>
                  <a:lnTo>
                    <a:pt x="13285" y="0"/>
                  </a:lnTo>
                  <a:lnTo>
                    <a:pt x="12550" y="0"/>
                  </a:lnTo>
                  <a:lnTo>
                    <a:pt x="12550" y="0"/>
                  </a:lnTo>
                  <a:lnTo>
                    <a:pt x="12414" y="207"/>
                  </a:lnTo>
                  <a:lnTo>
                    <a:pt x="12229" y="489"/>
                  </a:lnTo>
                  <a:lnTo>
                    <a:pt x="12010" y="826"/>
                  </a:lnTo>
                  <a:lnTo>
                    <a:pt x="11768" y="1199"/>
                  </a:lnTo>
                  <a:lnTo>
                    <a:pt x="11519" y="1586"/>
                  </a:lnTo>
                  <a:lnTo>
                    <a:pt x="11396" y="1781"/>
                  </a:lnTo>
                  <a:lnTo>
                    <a:pt x="11275" y="1971"/>
                  </a:lnTo>
                  <a:lnTo>
                    <a:pt x="11159" y="2156"/>
                  </a:lnTo>
                  <a:lnTo>
                    <a:pt x="11050" y="2332"/>
                  </a:lnTo>
                  <a:lnTo>
                    <a:pt x="10949" y="2497"/>
                  </a:lnTo>
                  <a:lnTo>
                    <a:pt x="10859" y="2649"/>
                  </a:lnTo>
                  <a:lnTo>
                    <a:pt x="10859" y="2649"/>
                  </a:lnTo>
                  <a:lnTo>
                    <a:pt x="10752" y="2828"/>
                  </a:lnTo>
                  <a:lnTo>
                    <a:pt x="10638" y="3019"/>
                  </a:lnTo>
                  <a:lnTo>
                    <a:pt x="10390" y="3426"/>
                  </a:lnTo>
                  <a:lnTo>
                    <a:pt x="10135" y="3844"/>
                  </a:lnTo>
                  <a:lnTo>
                    <a:pt x="9888" y="4246"/>
                  </a:lnTo>
                  <a:lnTo>
                    <a:pt x="9487" y="4895"/>
                  </a:lnTo>
                  <a:lnTo>
                    <a:pt x="9323" y="5160"/>
                  </a:lnTo>
                  <a:lnTo>
                    <a:pt x="9323" y="5160"/>
                  </a:lnTo>
                  <a:lnTo>
                    <a:pt x="9345" y="5119"/>
                  </a:lnTo>
                  <a:lnTo>
                    <a:pt x="9367" y="5077"/>
                  </a:lnTo>
                  <a:lnTo>
                    <a:pt x="9410" y="4985"/>
                  </a:lnTo>
                  <a:lnTo>
                    <a:pt x="9455" y="4888"/>
                  </a:lnTo>
                  <a:lnTo>
                    <a:pt x="9501" y="4785"/>
                  </a:lnTo>
                  <a:lnTo>
                    <a:pt x="9547" y="4675"/>
                  </a:lnTo>
                  <a:lnTo>
                    <a:pt x="9593" y="4561"/>
                  </a:lnTo>
                  <a:lnTo>
                    <a:pt x="9640" y="4442"/>
                  </a:lnTo>
                  <a:lnTo>
                    <a:pt x="9688" y="4319"/>
                  </a:lnTo>
                  <a:lnTo>
                    <a:pt x="9735" y="4193"/>
                  </a:lnTo>
                  <a:lnTo>
                    <a:pt x="9783" y="4063"/>
                  </a:lnTo>
                  <a:lnTo>
                    <a:pt x="9830" y="3931"/>
                  </a:lnTo>
                  <a:lnTo>
                    <a:pt x="9876" y="3798"/>
                  </a:lnTo>
                  <a:lnTo>
                    <a:pt x="9969" y="3530"/>
                  </a:lnTo>
                  <a:lnTo>
                    <a:pt x="10059" y="3264"/>
                  </a:lnTo>
                  <a:lnTo>
                    <a:pt x="10145" y="3003"/>
                  </a:lnTo>
                  <a:lnTo>
                    <a:pt x="10228" y="2752"/>
                  </a:lnTo>
                  <a:lnTo>
                    <a:pt x="10374" y="2302"/>
                  </a:lnTo>
                  <a:lnTo>
                    <a:pt x="10437" y="2111"/>
                  </a:lnTo>
                  <a:lnTo>
                    <a:pt x="10491" y="1950"/>
                  </a:lnTo>
                  <a:lnTo>
                    <a:pt x="10515" y="1883"/>
                  </a:lnTo>
                  <a:lnTo>
                    <a:pt x="10535" y="1824"/>
                  </a:lnTo>
                  <a:lnTo>
                    <a:pt x="10554" y="1775"/>
                  </a:lnTo>
                  <a:lnTo>
                    <a:pt x="10569" y="1737"/>
                  </a:lnTo>
                  <a:lnTo>
                    <a:pt x="10569" y="1737"/>
                  </a:lnTo>
                  <a:lnTo>
                    <a:pt x="10585" y="1701"/>
                  </a:lnTo>
                  <a:lnTo>
                    <a:pt x="10605" y="1661"/>
                  </a:lnTo>
                  <a:lnTo>
                    <a:pt x="10629" y="1616"/>
                  </a:lnTo>
                  <a:lnTo>
                    <a:pt x="10655" y="1567"/>
                  </a:lnTo>
                  <a:lnTo>
                    <a:pt x="10684" y="1515"/>
                  </a:lnTo>
                  <a:lnTo>
                    <a:pt x="10717" y="1458"/>
                  </a:lnTo>
                  <a:lnTo>
                    <a:pt x="10788" y="1338"/>
                  </a:lnTo>
                  <a:lnTo>
                    <a:pt x="10866" y="1210"/>
                  </a:lnTo>
                  <a:lnTo>
                    <a:pt x="10950" y="1076"/>
                  </a:lnTo>
                  <a:lnTo>
                    <a:pt x="11036" y="941"/>
                  </a:lnTo>
                  <a:lnTo>
                    <a:pt x="11122" y="806"/>
                  </a:lnTo>
                  <a:lnTo>
                    <a:pt x="11207" y="675"/>
                  </a:lnTo>
                  <a:lnTo>
                    <a:pt x="11289" y="552"/>
                  </a:lnTo>
                  <a:lnTo>
                    <a:pt x="11429" y="338"/>
                  </a:lnTo>
                  <a:lnTo>
                    <a:pt x="11526" y="192"/>
                  </a:lnTo>
                  <a:lnTo>
                    <a:pt x="11563" y="139"/>
                  </a:lnTo>
                  <a:lnTo>
                    <a:pt x="11563" y="139"/>
                  </a:lnTo>
                  <a:lnTo>
                    <a:pt x="11571" y="129"/>
                  </a:lnTo>
                  <a:lnTo>
                    <a:pt x="11581" y="121"/>
                  </a:lnTo>
                  <a:lnTo>
                    <a:pt x="11593" y="111"/>
                  </a:lnTo>
                  <a:lnTo>
                    <a:pt x="11608" y="102"/>
                  </a:lnTo>
                  <a:lnTo>
                    <a:pt x="11625" y="93"/>
                  </a:lnTo>
                  <a:lnTo>
                    <a:pt x="11644" y="85"/>
                  </a:lnTo>
                  <a:lnTo>
                    <a:pt x="11666" y="75"/>
                  </a:lnTo>
                  <a:lnTo>
                    <a:pt x="11688" y="66"/>
                  </a:lnTo>
                  <a:lnTo>
                    <a:pt x="11739" y="49"/>
                  </a:lnTo>
                  <a:lnTo>
                    <a:pt x="11795" y="32"/>
                  </a:lnTo>
                  <a:lnTo>
                    <a:pt x="11856" y="16"/>
                  </a:lnTo>
                  <a:lnTo>
                    <a:pt x="11920" y="0"/>
                  </a:lnTo>
                  <a:lnTo>
                    <a:pt x="6196" y="0"/>
                  </a:lnTo>
                  <a:lnTo>
                    <a:pt x="5952" y="944"/>
                  </a:lnTo>
                  <a:lnTo>
                    <a:pt x="5952" y="1988"/>
                  </a:lnTo>
                  <a:lnTo>
                    <a:pt x="5952" y="1988"/>
                  </a:lnTo>
                  <a:lnTo>
                    <a:pt x="5913" y="2045"/>
                  </a:lnTo>
                  <a:lnTo>
                    <a:pt x="5870" y="2108"/>
                  </a:lnTo>
                  <a:lnTo>
                    <a:pt x="5818" y="2188"/>
                  </a:lnTo>
                  <a:lnTo>
                    <a:pt x="5760" y="2279"/>
                  </a:lnTo>
                  <a:lnTo>
                    <a:pt x="5731" y="2327"/>
                  </a:lnTo>
                  <a:lnTo>
                    <a:pt x="5701" y="2376"/>
                  </a:lnTo>
                  <a:lnTo>
                    <a:pt x="5674" y="2425"/>
                  </a:lnTo>
                  <a:lnTo>
                    <a:pt x="5647" y="2474"/>
                  </a:lnTo>
                  <a:lnTo>
                    <a:pt x="5622" y="2521"/>
                  </a:lnTo>
                  <a:lnTo>
                    <a:pt x="5599" y="2568"/>
                  </a:lnTo>
                  <a:lnTo>
                    <a:pt x="5599" y="2568"/>
                  </a:lnTo>
                  <a:lnTo>
                    <a:pt x="5594" y="2580"/>
                  </a:lnTo>
                  <a:lnTo>
                    <a:pt x="5588" y="2594"/>
                  </a:lnTo>
                  <a:lnTo>
                    <a:pt x="5578" y="2629"/>
                  </a:lnTo>
                  <a:lnTo>
                    <a:pt x="5567" y="2670"/>
                  </a:lnTo>
                  <a:lnTo>
                    <a:pt x="5557" y="2719"/>
                  </a:lnTo>
                  <a:lnTo>
                    <a:pt x="5547" y="2774"/>
                  </a:lnTo>
                  <a:lnTo>
                    <a:pt x="5536" y="2833"/>
                  </a:lnTo>
                  <a:lnTo>
                    <a:pt x="5526" y="2899"/>
                  </a:lnTo>
                  <a:lnTo>
                    <a:pt x="5516" y="2968"/>
                  </a:lnTo>
                  <a:lnTo>
                    <a:pt x="5497" y="3120"/>
                  </a:lnTo>
                  <a:lnTo>
                    <a:pt x="5478" y="3281"/>
                  </a:lnTo>
                  <a:lnTo>
                    <a:pt x="5460" y="3450"/>
                  </a:lnTo>
                  <a:lnTo>
                    <a:pt x="5443" y="3620"/>
                  </a:lnTo>
                  <a:lnTo>
                    <a:pt x="5428" y="3786"/>
                  </a:lnTo>
                  <a:lnTo>
                    <a:pt x="5414" y="3946"/>
                  </a:lnTo>
                  <a:lnTo>
                    <a:pt x="5392" y="4225"/>
                  </a:lnTo>
                  <a:lnTo>
                    <a:pt x="5378" y="4419"/>
                  </a:lnTo>
                  <a:lnTo>
                    <a:pt x="5373" y="4492"/>
                  </a:lnTo>
                  <a:lnTo>
                    <a:pt x="5373" y="4492"/>
                  </a:lnTo>
                  <a:lnTo>
                    <a:pt x="5346" y="4304"/>
                  </a:lnTo>
                  <a:lnTo>
                    <a:pt x="5284" y="3872"/>
                  </a:lnTo>
                  <a:lnTo>
                    <a:pt x="5248" y="3628"/>
                  </a:lnTo>
                  <a:lnTo>
                    <a:pt x="5214" y="3399"/>
                  </a:lnTo>
                  <a:lnTo>
                    <a:pt x="5197" y="3297"/>
                  </a:lnTo>
                  <a:lnTo>
                    <a:pt x="5182" y="3209"/>
                  </a:lnTo>
                  <a:lnTo>
                    <a:pt x="5169" y="3136"/>
                  </a:lnTo>
                  <a:lnTo>
                    <a:pt x="5159" y="3083"/>
                  </a:lnTo>
                  <a:lnTo>
                    <a:pt x="5159" y="3083"/>
                  </a:lnTo>
                  <a:lnTo>
                    <a:pt x="5155" y="3061"/>
                  </a:lnTo>
                  <a:lnTo>
                    <a:pt x="5151" y="3038"/>
                  </a:lnTo>
                  <a:lnTo>
                    <a:pt x="5149" y="3015"/>
                  </a:lnTo>
                  <a:lnTo>
                    <a:pt x="5148" y="2990"/>
                  </a:lnTo>
                  <a:lnTo>
                    <a:pt x="5148" y="2965"/>
                  </a:lnTo>
                  <a:lnTo>
                    <a:pt x="5148" y="2939"/>
                  </a:lnTo>
                  <a:lnTo>
                    <a:pt x="5151" y="2885"/>
                  </a:lnTo>
                  <a:lnTo>
                    <a:pt x="5157" y="2828"/>
                  </a:lnTo>
                  <a:lnTo>
                    <a:pt x="5163" y="2771"/>
                  </a:lnTo>
                  <a:lnTo>
                    <a:pt x="5178" y="2655"/>
                  </a:lnTo>
                  <a:lnTo>
                    <a:pt x="5184" y="2598"/>
                  </a:lnTo>
                  <a:lnTo>
                    <a:pt x="5190" y="2542"/>
                  </a:lnTo>
                  <a:lnTo>
                    <a:pt x="5193" y="2487"/>
                  </a:lnTo>
                  <a:lnTo>
                    <a:pt x="5194" y="2461"/>
                  </a:lnTo>
                  <a:lnTo>
                    <a:pt x="5194" y="2436"/>
                  </a:lnTo>
                  <a:lnTo>
                    <a:pt x="5194" y="2411"/>
                  </a:lnTo>
                  <a:lnTo>
                    <a:pt x="5192" y="2387"/>
                  </a:lnTo>
                  <a:lnTo>
                    <a:pt x="5190" y="2364"/>
                  </a:lnTo>
                  <a:lnTo>
                    <a:pt x="5185" y="2341"/>
                  </a:lnTo>
                  <a:lnTo>
                    <a:pt x="5181" y="2320"/>
                  </a:lnTo>
                  <a:lnTo>
                    <a:pt x="5174" y="2301"/>
                  </a:lnTo>
                  <a:lnTo>
                    <a:pt x="5168" y="2282"/>
                  </a:lnTo>
                  <a:lnTo>
                    <a:pt x="5159" y="2265"/>
                  </a:lnTo>
                  <a:lnTo>
                    <a:pt x="5159" y="2265"/>
                  </a:lnTo>
                  <a:lnTo>
                    <a:pt x="5148" y="2245"/>
                  </a:lnTo>
                  <a:lnTo>
                    <a:pt x="5136" y="2219"/>
                  </a:lnTo>
                  <a:lnTo>
                    <a:pt x="5123" y="2188"/>
                  </a:lnTo>
                  <a:lnTo>
                    <a:pt x="5108" y="2151"/>
                  </a:lnTo>
                  <a:lnTo>
                    <a:pt x="5075" y="2061"/>
                  </a:lnTo>
                  <a:lnTo>
                    <a:pt x="5037" y="1957"/>
                  </a:lnTo>
                  <a:lnTo>
                    <a:pt x="4998" y="1840"/>
                  </a:lnTo>
                  <a:lnTo>
                    <a:pt x="4955" y="1714"/>
                  </a:lnTo>
                  <a:lnTo>
                    <a:pt x="4912" y="1583"/>
                  </a:lnTo>
                  <a:lnTo>
                    <a:pt x="4869" y="1450"/>
                  </a:lnTo>
                  <a:lnTo>
                    <a:pt x="4788" y="1195"/>
                  </a:lnTo>
                  <a:lnTo>
                    <a:pt x="4720" y="977"/>
                  </a:lnTo>
                  <a:lnTo>
                    <a:pt x="4656" y="768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1913" y="3171"/>
                  </a:lnTo>
                  <a:lnTo>
                    <a:pt x="1913" y="3171"/>
                  </a:lnTo>
                  <a:lnTo>
                    <a:pt x="1930" y="3025"/>
                  </a:lnTo>
                  <a:lnTo>
                    <a:pt x="1949" y="2877"/>
                  </a:lnTo>
                  <a:lnTo>
                    <a:pt x="1973" y="2709"/>
                  </a:lnTo>
                  <a:lnTo>
                    <a:pt x="1812" y="1925"/>
                  </a:lnTo>
                  <a:lnTo>
                    <a:pt x="1812" y="1925"/>
                  </a:lnTo>
                  <a:lnTo>
                    <a:pt x="1812" y="1523"/>
                  </a:lnTo>
                  <a:lnTo>
                    <a:pt x="1812" y="1523"/>
                  </a:lnTo>
                  <a:lnTo>
                    <a:pt x="1812" y="1499"/>
                  </a:lnTo>
                  <a:lnTo>
                    <a:pt x="1809" y="1474"/>
                  </a:lnTo>
                  <a:lnTo>
                    <a:pt x="1806" y="1449"/>
                  </a:lnTo>
                  <a:lnTo>
                    <a:pt x="1802" y="1424"/>
                  </a:lnTo>
                  <a:lnTo>
                    <a:pt x="1798" y="1400"/>
                  </a:lnTo>
                  <a:lnTo>
                    <a:pt x="1792" y="1376"/>
                  </a:lnTo>
                  <a:lnTo>
                    <a:pt x="1780" y="1331"/>
                  </a:lnTo>
                  <a:lnTo>
                    <a:pt x="1769" y="1291"/>
                  </a:lnTo>
                  <a:lnTo>
                    <a:pt x="1758" y="1261"/>
                  </a:lnTo>
                  <a:lnTo>
                    <a:pt x="1749" y="1234"/>
                  </a:lnTo>
                  <a:lnTo>
                    <a:pt x="2265" y="541"/>
                  </a:lnTo>
                  <a:lnTo>
                    <a:pt x="2378" y="1359"/>
                  </a:lnTo>
                  <a:lnTo>
                    <a:pt x="2554" y="2265"/>
                  </a:lnTo>
                  <a:lnTo>
                    <a:pt x="2298" y="3454"/>
                  </a:lnTo>
                  <a:lnTo>
                    <a:pt x="2298" y="3454"/>
                  </a:lnTo>
                  <a:lnTo>
                    <a:pt x="2339" y="3710"/>
                  </a:lnTo>
                  <a:lnTo>
                    <a:pt x="2380" y="3987"/>
                  </a:lnTo>
                  <a:lnTo>
                    <a:pt x="2420" y="4268"/>
                  </a:lnTo>
                  <a:lnTo>
                    <a:pt x="2459" y="4534"/>
                  </a:lnTo>
                  <a:lnTo>
                    <a:pt x="2518" y="4961"/>
                  </a:lnTo>
                  <a:lnTo>
                    <a:pt x="2541" y="5135"/>
                  </a:lnTo>
                  <a:lnTo>
                    <a:pt x="2541" y="5135"/>
                  </a:lnTo>
                  <a:lnTo>
                    <a:pt x="2570" y="5084"/>
                  </a:lnTo>
                  <a:lnTo>
                    <a:pt x="2599" y="5032"/>
                  </a:lnTo>
                  <a:lnTo>
                    <a:pt x="2633" y="4967"/>
                  </a:lnTo>
                  <a:lnTo>
                    <a:pt x="2669" y="4897"/>
                  </a:lnTo>
                  <a:lnTo>
                    <a:pt x="2685" y="4861"/>
                  </a:lnTo>
                  <a:lnTo>
                    <a:pt x="2701" y="4826"/>
                  </a:lnTo>
                  <a:lnTo>
                    <a:pt x="2716" y="4793"/>
                  </a:lnTo>
                  <a:lnTo>
                    <a:pt x="2727" y="4761"/>
                  </a:lnTo>
                  <a:lnTo>
                    <a:pt x="2736" y="4732"/>
                  </a:lnTo>
                  <a:lnTo>
                    <a:pt x="2743" y="4707"/>
                  </a:lnTo>
                  <a:lnTo>
                    <a:pt x="3246" y="5989"/>
                  </a:lnTo>
                  <a:lnTo>
                    <a:pt x="4102" y="6719"/>
                  </a:lnTo>
                  <a:lnTo>
                    <a:pt x="4102" y="9136"/>
                  </a:lnTo>
                  <a:lnTo>
                    <a:pt x="6442" y="12810"/>
                  </a:lnTo>
                  <a:lnTo>
                    <a:pt x="7549" y="10495"/>
                  </a:lnTo>
                  <a:lnTo>
                    <a:pt x="9056" y="8056"/>
                  </a:lnTo>
                  <a:lnTo>
                    <a:pt x="7851" y="4392"/>
                  </a:lnTo>
                  <a:lnTo>
                    <a:pt x="8997" y="5486"/>
                  </a:lnTo>
                  <a:lnTo>
                    <a:pt x="9159" y="6759"/>
                  </a:lnTo>
                  <a:lnTo>
                    <a:pt x="9588" y="5738"/>
                  </a:lnTo>
                  <a:lnTo>
                    <a:pt x="10141" y="4027"/>
                  </a:lnTo>
                  <a:lnTo>
                    <a:pt x="14420" y="0"/>
                  </a:lnTo>
                  <a:lnTo>
                    <a:pt x="13965" y="0"/>
                  </a:lnTo>
                  <a:close/>
                  <a:moveTo>
                    <a:pt x="201" y="63"/>
                  </a:moveTo>
                  <a:lnTo>
                    <a:pt x="919" y="201"/>
                  </a:lnTo>
                  <a:lnTo>
                    <a:pt x="1635" y="2265"/>
                  </a:lnTo>
                  <a:lnTo>
                    <a:pt x="201" y="63"/>
                  </a:lnTo>
                  <a:close/>
                  <a:moveTo>
                    <a:pt x="3750" y="5952"/>
                  </a:moveTo>
                  <a:lnTo>
                    <a:pt x="3359" y="5839"/>
                  </a:lnTo>
                  <a:lnTo>
                    <a:pt x="3284" y="5448"/>
                  </a:lnTo>
                  <a:lnTo>
                    <a:pt x="3284" y="5411"/>
                  </a:lnTo>
                  <a:lnTo>
                    <a:pt x="4027" y="5448"/>
                  </a:lnTo>
                  <a:lnTo>
                    <a:pt x="5058" y="7903"/>
                  </a:lnTo>
                  <a:lnTo>
                    <a:pt x="3750" y="5952"/>
                  </a:lnTo>
                  <a:close/>
                  <a:moveTo>
                    <a:pt x="6228" y="10570"/>
                  </a:moveTo>
                  <a:lnTo>
                    <a:pt x="6228" y="11741"/>
                  </a:lnTo>
                  <a:lnTo>
                    <a:pt x="5624" y="9437"/>
                  </a:lnTo>
                  <a:lnTo>
                    <a:pt x="6354" y="8268"/>
                  </a:lnTo>
                  <a:lnTo>
                    <a:pt x="5486" y="5814"/>
                  </a:lnTo>
                  <a:lnTo>
                    <a:pt x="6832" y="7273"/>
                  </a:lnTo>
                  <a:lnTo>
                    <a:pt x="6945" y="8594"/>
                  </a:lnTo>
                  <a:lnTo>
                    <a:pt x="6228" y="10570"/>
                  </a:lnTo>
                  <a:close/>
                  <a:moveTo>
                    <a:pt x="7638" y="3272"/>
                  </a:moveTo>
                  <a:lnTo>
                    <a:pt x="7638" y="2479"/>
                  </a:lnTo>
                  <a:lnTo>
                    <a:pt x="8505" y="201"/>
                  </a:lnTo>
                  <a:lnTo>
                    <a:pt x="9450" y="201"/>
                  </a:lnTo>
                  <a:lnTo>
                    <a:pt x="7638" y="3272"/>
                  </a:lnTo>
                  <a:close/>
                </a:path>
              </a:pathLst>
            </a:custGeom>
            <a:solidFill>
              <a:srgbClr val="63B2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1361774" y="2899286"/>
              <a:ext cx="390964" cy="600351"/>
            </a:xfrm>
            <a:custGeom>
              <a:avLst/>
              <a:gdLst>
                <a:gd name="T0" fmla="*/ 0 w 1434"/>
                <a:gd name="T1" fmla="*/ 0 h 2202"/>
                <a:gd name="T2" fmla="*/ 1434 w 1434"/>
                <a:gd name="T3" fmla="*/ 2202 h 2202"/>
                <a:gd name="T4" fmla="*/ 718 w 1434"/>
                <a:gd name="T5" fmla="*/ 138 h 2202"/>
                <a:gd name="T6" fmla="*/ 0 w 1434"/>
                <a:gd name="T7" fmla="*/ 0 h 2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34" h="2202">
                  <a:moveTo>
                    <a:pt x="0" y="0"/>
                  </a:moveTo>
                  <a:lnTo>
                    <a:pt x="1434" y="2202"/>
                  </a:lnTo>
                  <a:lnTo>
                    <a:pt x="718" y="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E8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1783818" y="3030152"/>
              <a:ext cx="219201" cy="793379"/>
            </a:xfrm>
            <a:custGeom>
              <a:avLst/>
              <a:gdLst>
                <a:gd name="T0" fmla="*/ 629 w 805"/>
                <a:gd name="T1" fmla="*/ 818 h 2913"/>
                <a:gd name="T2" fmla="*/ 516 w 805"/>
                <a:gd name="T3" fmla="*/ 0 h 2913"/>
                <a:gd name="T4" fmla="*/ 0 w 805"/>
                <a:gd name="T5" fmla="*/ 693 h 2913"/>
                <a:gd name="T6" fmla="*/ 0 w 805"/>
                <a:gd name="T7" fmla="*/ 693 h 2913"/>
                <a:gd name="T8" fmla="*/ 9 w 805"/>
                <a:gd name="T9" fmla="*/ 720 h 2913"/>
                <a:gd name="T10" fmla="*/ 20 w 805"/>
                <a:gd name="T11" fmla="*/ 750 h 2913"/>
                <a:gd name="T12" fmla="*/ 31 w 805"/>
                <a:gd name="T13" fmla="*/ 790 h 2913"/>
                <a:gd name="T14" fmla="*/ 43 w 805"/>
                <a:gd name="T15" fmla="*/ 835 h 2913"/>
                <a:gd name="T16" fmla="*/ 49 w 805"/>
                <a:gd name="T17" fmla="*/ 859 h 2913"/>
                <a:gd name="T18" fmla="*/ 53 w 805"/>
                <a:gd name="T19" fmla="*/ 883 h 2913"/>
                <a:gd name="T20" fmla="*/ 57 w 805"/>
                <a:gd name="T21" fmla="*/ 908 h 2913"/>
                <a:gd name="T22" fmla="*/ 60 w 805"/>
                <a:gd name="T23" fmla="*/ 933 h 2913"/>
                <a:gd name="T24" fmla="*/ 63 w 805"/>
                <a:gd name="T25" fmla="*/ 958 h 2913"/>
                <a:gd name="T26" fmla="*/ 63 w 805"/>
                <a:gd name="T27" fmla="*/ 982 h 2913"/>
                <a:gd name="T28" fmla="*/ 63 w 805"/>
                <a:gd name="T29" fmla="*/ 982 h 2913"/>
                <a:gd name="T30" fmla="*/ 63 w 805"/>
                <a:gd name="T31" fmla="*/ 1384 h 2913"/>
                <a:gd name="T32" fmla="*/ 224 w 805"/>
                <a:gd name="T33" fmla="*/ 2168 h 2913"/>
                <a:gd name="T34" fmla="*/ 224 w 805"/>
                <a:gd name="T35" fmla="*/ 2168 h 2913"/>
                <a:gd name="T36" fmla="*/ 240 w 805"/>
                <a:gd name="T37" fmla="*/ 2056 h 2913"/>
                <a:gd name="T38" fmla="*/ 257 w 805"/>
                <a:gd name="T39" fmla="*/ 1954 h 2913"/>
                <a:gd name="T40" fmla="*/ 265 w 805"/>
                <a:gd name="T41" fmla="*/ 1907 h 2913"/>
                <a:gd name="T42" fmla="*/ 274 w 805"/>
                <a:gd name="T43" fmla="*/ 1865 h 2913"/>
                <a:gd name="T44" fmla="*/ 282 w 805"/>
                <a:gd name="T45" fmla="*/ 1830 h 2913"/>
                <a:gd name="T46" fmla="*/ 289 w 805"/>
                <a:gd name="T47" fmla="*/ 1800 h 2913"/>
                <a:gd name="T48" fmla="*/ 289 w 805"/>
                <a:gd name="T49" fmla="*/ 1800 h 2913"/>
                <a:gd name="T50" fmla="*/ 300 w 805"/>
                <a:gd name="T51" fmla="*/ 1766 h 2913"/>
                <a:gd name="T52" fmla="*/ 311 w 805"/>
                <a:gd name="T53" fmla="*/ 1733 h 2913"/>
                <a:gd name="T54" fmla="*/ 324 w 805"/>
                <a:gd name="T55" fmla="*/ 1699 h 2913"/>
                <a:gd name="T56" fmla="*/ 338 w 805"/>
                <a:gd name="T57" fmla="*/ 1666 h 2913"/>
                <a:gd name="T58" fmla="*/ 352 w 805"/>
                <a:gd name="T59" fmla="*/ 1634 h 2913"/>
                <a:gd name="T60" fmla="*/ 368 w 805"/>
                <a:gd name="T61" fmla="*/ 1603 h 2913"/>
                <a:gd name="T62" fmla="*/ 396 w 805"/>
                <a:gd name="T63" fmla="*/ 1545 h 2913"/>
                <a:gd name="T64" fmla="*/ 423 w 805"/>
                <a:gd name="T65" fmla="*/ 1495 h 2913"/>
                <a:gd name="T66" fmla="*/ 445 w 805"/>
                <a:gd name="T67" fmla="*/ 1456 h 2913"/>
                <a:gd name="T68" fmla="*/ 466 w 805"/>
                <a:gd name="T69" fmla="*/ 1422 h 2913"/>
                <a:gd name="T70" fmla="*/ 466 w 805"/>
                <a:gd name="T71" fmla="*/ 1422 h 2913"/>
                <a:gd name="T72" fmla="*/ 462 w 805"/>
                <a:gd name="T73" fmla="*/ 1455 h 2913"/>
                <a:gd name="T74" fmla="*/ 455 w 805"/>
                <a:gd name="T75" fmla="*/ 1544 h 2913"/>
                <a:gd name="T76" fmla="*/ 446 w 805"/>
                <a:gd name="T77" fmla="*/ 1676 h 2913"/>
                <a:gd name="T78" fmla="*/ 442 w 805"/>
                <a:gd name="T79" fmla="*/ 1752 h 2913"/>
                <a:gd name="T80" fmla="*/ 437 w 805"/>
                <a:gd name="T81" fmla="*/ 1834 h 2913"/>
                <a:gd name="T82" fmla="*/ 434 w 805"/>
                <a:gd name="T83" fmla="*/ 1919 h 2913"/>
                <a:gd name="T84" fmla="*/ 432 w 805"/>
                <a:gd name="T85" fmla="*/ 2006 h 2913"/>
                <a:gd name="T86" fmla="*/ 432 w 805"/>
                <a:gd name="T87" fmla="*/ 2092 h 2913"/>
                <a:gd name="T88" fmla="*/ 434 w 805"/>
                <a:gd name="T89" fmla="*/ 2176 h 2913"/>
                <a:gd name="T90" fmla="*/ 435 w 805"/>
                <a:gd name="T91" fmla="*/ 2216 h 2913"/>
                <a:gd name="T92" fmla="*/ 437 w 805"/>
                <a:gd name="T93" fmla="*/ 2256 h 2913"/>
                <a:gd name="T94" fmla="*/ 441 w 805"/>
                <a:gd name="T95" fmla="*/ 2293 h 2913"/>
                <a:gd name="T96" fmla="*/ 444 w 805"/>
                <a:gd name="T97" fmla="*/ 2331 h 2913"/>
                <a:gd name="T98" fmla="*/ 448 w 805"/>
                <a:gd name="T99" fmla="*/ 2364 h 2913"/>
                <a:gd name="T100" fmla="*/ 454 w 805"/>
                <a:gd name="T101" fmla="*/ 2397 h 2913"/>
                <a:gd name="T102" fmla="*/ 459 w 805"/>
                <a:gd name="T103" fmla="*/ 2426 h 2913"/>
                <a:gd name="T104" fmla="*/ 466 w 805"/>
                <a:gd name="T105" fmla="*/ 2454 h 2913"/>
                <a:gd name="T106" fmla="*/ 466 w 805"/>
                <a:gd name="T107" fmla="*/ 2454 h 2913"/>
                <a:gd name="T108" fmla="*/ 473 w 805"/>
                <a:gd name="T109" fmla="*/ 2485 h 2913"/>
                <a:gd name="T110" fmla="*/ 482 w 805"/>
                <a:gd name="T111" fmla="*/ 2524 h 2913"/>
                <a:gd name="T112" fmla="*/ 502 w 805"/>
                <a:gd name="T113" fmla="*/ 2628 h 2913"/>
                <a:gd name="T114" fmla="*/ 524 w 805"/>
                <a:gd name="T115" fmla="*/ 2760 h 2913"/>
                <a:gd name="T116" fmla="*/ 549 w 805"/>
                <a:gd name="T117" fmla="*/ 2913 h 2913"/>
                <a:gd name="T118" fmla="*/ 805 w 805"/>
                <a:gd name="T119" fmla="*/ 1724 h 2913"/>
                <a:gd name="T120" fmla="*/ 629 w 805"/>
                <a:gd name="T121" fmla="*/ 818 h 2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5" h="2913">
                  <a:moveTo>
                    <a:pt x="629" y="818"/>
                  </a:moveTo>
                  <a:lnTo>
                    <a:pt x="516" y="0"/>
                  </a:lnTo>
                  <a:lnTo>
                    <a:pt x="0" y="693"/>
                  </a:lnTo>
                  <a:lnTo>
                    <a:pt x="0" y="693"/>
                  </a:lnTo>
                  <a:lnTo>
                    <a:pt x="9" y="720"/>
                  </a:lnTo>
                  <a:lnTo>
                    <a:pt x="20" y="750"/>
                  </a:lnTo>
                  <a:lnTo>
                    <a:pt x="31" y="790"/>
                  </a:lnTo>
                  <a:lnTo>
                    <a:pt x="43" y="835"/>
                  </a:lnTo>
                  <a:lnTo>
                    <a:pt x="49" y="859"/>
                  </a:lnTo>
                  <a:lnTo>
                    <a:pt x="53" y="883"/>
                  </a:lnTo>
                  <a:lnTo>
                    <a:pt x="57" y="908"/>
                  </a:lnTo>
                  <a:lnTo>
                    <a:pt x="60" y="933"/>
                  </a:lnTo>
                  <a:lnTo>
                    <a:pt x="63" y="958"/>
                  </a:lnTo>
                  <a:lnTo>
                    <a:pt x="63" y="982"/>
                  </a:lnTo>
                  <a:lnTo>
                    <a:pt x="63" y="982"/>
                  </a:lnTo>
                  <a:lnTo>
                    <a:pt x="63" y="1384"/>
                  </a:lnTo>
                  <a:lnTo>
                    <a:pt x="224" y="2168"/>
                  </a:lnTo>
                  <a:lnTo>
                    <a:pt x="224" y="2168"/>
                  </a:lnTo>
                  <a:lnTo>
                    <a:pt x="240" y="2056"/>
                  </a:lnTo>
                  <a:lnTo>
                    <a:pt x="257" y="1954"/>
                  </a:lnTo>
                  <a:lnTo>
                    <a:pt x="265" y="1907"/>
                  </a:lnTo>
                  <a:lnTo>
                    <a:pt x="274" y="1865"/>
                  </a:lnTo>
                  <a:lnTo>
                    <a:pt x="282" y="1830"/>
                  </a:lnTo>
                  <a:lnTo>
                    <a:pt x="289" y="1800"/>
                  </a:lnTo>
                  <a:lnTo>
                    <a:pt x="289" y="1800"/>
                  </a:lnTo>
                  <a:lnTo>
                    <a:pt x="300" y="1766"/>
                  </a:lnTo>
                  <a:lnTo>
                    <a:pt x="311" y="1733"/>
                  </a:lnTo>
                  <a:lnTo>
                    <a:pt x="324" y="1699"/>
                  </a:lnTo>
                  <a:lnTo>
                    <a:pt x="338" y="1666"/>
                  </a:lnTo>
                  <a:lnTo>
                    <a:pt x="352" y="1634"/>
                  </a:lnTo>
                  <a:lnTo>
                    <a:pt x="368" y="1603"/>
                  </a:lnTo>
                  <a:lnTo>
                    <a:pt x="396" y="1545"/>
                  </a:lnTo>
                  <a:lnTo>
                    <a:pt x="423" y="1495"/>
                  </a:lnTo>
                  <a:lnTo>
                    <a:pt x="445" y="1456"/>
                  </a:lnTo>
                  <a:lnTo>
                    <a:pt x="466" y="1422"/>
                  </a:lnTo>
                  <a:lnTo>
                    <a:pt x="466" y="1422"/>
                  </a:lnTo>
                  <a:lnTo>
                    <a:pt x="462" y="1455"/>
                  </a:lnTo>
                  <a:lnTo>
                    <a:pt x="455" y="1544"/>
                  </a:lnTo>
                  <a:lnTo>
                    <a:pt x="446" y="1676"/>
                  </a:lnTo>
                  <a:lnTo>
                    <a:pt x="442" y="1752"/>
                  </a:lnTo>
                  <a:lnTo>
                    <a:pt x="437" y="1834"/>
                  </a:lnTo>
                  <a:lnTo>
                    <a:pt x="434" y="1919"/>
                  </a:lnTo>
                  <a:lnTo>
                    <a:pt x="432" y="2006"/>
                  </a:lnTo>
                  <a:lnTo>
                    <a:pt x="432" y="2092"/>
                  </a:lnTo>
                  <a:lnTo>
                    <a:pt x="434" y="2176"/>
                  </a:lnTo>
                  <a:lnTo>
                    <a:pt x="435" y="2216"/>
                  </a:lnTo>
                  <a:lnTo>
                    <a:pt x="437" y="2256"/>
                  </a:lnTo>
                  <a:lnTo>
                    <a:pt x="441" y="2293"/>
                  </a:lnTo>
                  <a:lnTo>
                    <a:pt x="444" y="2331"/>
                  </a:lnTo>
                  <a:lnTo>
                    <a:pt x="448" y="2364"/>
                  </a:lnTo>
                  <a:lnTo>
                    <a:pt x="454" y="2397"/>
                  </a:lnTo>
                  <a:lnTo>
                    <a:pt x="459" y="2426"/>
                  </a:lnTo>
                  <a:lnTo>
                    <a:pt x="466" y="2454"/>
                  </a:lnTo>
                  <a:lnTo>
                    <a:pt x="466" y="2454"/>
                  </a:lnTo>
                  <a:lnTo>
                    <a:pt x="473" y="2485"/>
                  </a:lnTo>
                  <a:lnTo>
                    <a:pt x="482" y="2524"/>
                  </a:lnTo>
                  <a:lnTo>
                    <a:pt x="502" y="2628"/>
                  </a:lnTo>
                  <a:lnTo>
                    <a:pt x="524" y="2760"/>
                  </a:lnTo>
                  <a:lnTo>
                    <a:pt x="549" y="2913"/>
                  </a:lnTo>
                  <a:lnTo>
                    <a:pt x="805" y="1724"/>
                  </a:lnTo>
                  <a:lnTo>
                    <a:pt x="629" y="818"/>
                  </a:lnTo>
                  <a:close/>
                </a:path>
              </a:pathLst>
            </a:custGeom>
            <a:solidFill>
              <a:srgbClr val="4E8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2560839" y="2881292"/>
              <a:ext cx="435131" cy="1225238"/>
            </a:xfrm>
            <a:custGeom>
              <a:avLst/>
              <a:gdLst>
                <a:gd name="T0" fmla="*/ 557 w 1594"/>
                <a:gd name="T1" fmla="*/ 2265 h 4492"/>
                <a:gd name="T2" fmla="*/ 572 w 1594"/>
                <a:gd name="T3" fmla="*/ 2301 h 4492"/>
                <a:gd name="T4" fmla="*/ 583 w 1594"/>
                <a:gd name="T5" fmla="*/ 2341 h 4492"/>
                <a:gd name="T6" fmla="*/ 590 w 1594"/>
                <a:gd name="T7" fmla="*/ 2387 h 4492"/>
                <a:gd name="T8" fmla="*/ 592 w 1594"/>
                <a:gd name="T9" fmla="*/ 2436 h 4492"/>
                <a:gd name="T10" fmla="*/ 591 w 1594"/>
                <a:gd name="T11" fmla="*/ 2487 h 4492"/>
                <a:gd name="T12" fmla="*/ 582 w 1594"/>
                <a:gd name="T13" fmla="*/ 2598 h 4492"/>
                <a:gd name="T14" fmla="*/ 561 w 1594"/>
                <a:gd name="T15" fmla="*/ 2771 h 4492"/>
                <a:gd name="T16" fmla="*/ 549 w 1594"/>
                <a:gd name="T17" fmla="*/ 2885 h 4492"/>
                <a:gd name="T18" fmla="*/ 546 w 1594"/>
                <a:gd name="T19" fmla="*/ 2965 h 4492"/>
                <a:gd name="T20" fmla="*/ 547 w 1594"/>
                <a:gd name="T21" fmla="*/ 3015 h 4492"/>
                <a:gd name="T22" fmla="*/ 553 w 1594"/>
                <a:gd name="T23" fmla="*/ 3061 h 4492"/>
                <a:gd name="T24" fmla="*/ 557 w 1594"/>
                <a:gd name="T25" fmla="*/ 3083 h 4492"/>
                <a:gd name="T26" fmla="*/ 580 w 1594"/>
                <a:gd name="T27" fmla="*/ 3209 h 4492"/>
                <a:gd name="T28" fmla="*/ 612 w 1594"/>
                <a:gd name="T29" fmla="*/ 3399 h 4492"/>
                <a:gd name="T30" fmla="*/ 682 w 1594"/>
                <a:gd name="T31" fmla="*/ 3872 h 4492"/>
                <a:gd name="T32" fmla="*/ 771 w 1594"/>
                <a:gd name="T33" fmla="*/ 4492 h 4492"/>
                <a:gd name="T34" fmla="*/ 776 w 1594"/>
                <a:gd name="T35" fmla="*/ 4419 h 4492"/>
                <a:gd name="T36" fmla="*/ 812 w 1594"/>
                <a:gd name="T37" fmla="*/ 3946 h 4492"/>
                <a:gd name="T38" fmla="*/ 841 w 1594"/>
                <a:gd name="T39" fmla="*/ 3620 h 4492"/>
                <a:gd name="T40" fmla="*/ 876 w 1594"/>
                <a:gd name="T41" fmla="*/ 3281 h 4492"/>
                <a:gd name="T42" fmla="*/ 914 w 1594"/>
                <a:gd name="T43" fmla="*/ 2968 h 4492"/>
                <a:gd name="T44" fmla="*/ 934 w 1594"/>
                <a:gd name="T45" fmla="*/ 2833 h 4492"/>
                <a:gd name="T46" fmla="*/ 955 w 1594"/>
                <a:gd name="T47" fmla="*/ 2719 h 4492"/>
                <a:gd name="T48" fmla="*/ 976 w 1594"/>
                <a:gd name="T49" fmla="*/ 2629 h 4492"/>
                <a:gd name="T50" fmla="*/ 992 w 1594"/>
                <a:gd name="T51" fmla="*/ 2580 h 4492"/>
                <a:gd name="T52" fmla="*/ 997 w 1594"/>
                <a:gd name="T53" fmla="*/ 2568 h 4492"/>
                <a:gd name="T54" fmla="*/ 1045 w 1594"/>
                <a:gd name="T55" fmla="*/ 2474 h 4492"/>
                <a:gd name="T56" fmla="*/ 1099 w 1594"/>
                <a:gd name="T57" fmla="*/ 2376 h 4492"/>
                <a:gd name="T58" fmla="*/ 1158 w 1594"/>
                <a:gd name="T59" fmla="*/ 2279 h 4492"/>
                <a:gd name="T60" fmla="*/ 1268 w 1594"/>
                <a:gd name="T61" fmla="*/ 2108 h 4492"/>
                <a:gd name="T62" fmla="*/ 1350 w 1594"/>
                <a:gd name="T63" fmla="*/ 1988 h 4492"/>
                <a:gd name="T64" fmla="*/ 1594 w 1594"/>
                <a:gd name="T65" fmla="*/ 0 h 4492"/>
                <a:gd name="T66" fmla="*/ 54 w 1594"/>
                <a:gd name="T67" fmla="*/ 768 h 4492"/>
                <a:gd name="T68" fmla="*/ 118 w 1594"/>
                <a:gd name="T69" fmla="*/ 977 h 4492"/>
                <a:gd name="T70" fmla="*/ 267 w 1594"/>
                <a:gd name="T71" fmla="*/ 1450 h 4492"/>
                <a:gd name="T72" fmla="*/ 353 w 1594"/>
                <a:gd name="T73" fmla="*/ 1714 h 4492"/>
                <a:gd name="T74" fmla="*/ 435 w 1594"/>
                <a:gd name="T75" fmla="*/ 1957 h 4492"/>
                <a:gd name="T76" fmla="*/ 506 w 1594"/>
                <a:gd name="T77" fmla="*/ 2151 h 4492"/>
                <a:gd name="T78" fmla="*/ 534 w 1594"/>
                <a:gd name="T79" fmla="*/ 2219 h 4492"/>
                <a:gd name="T80" fmla="*/ 557 w 1594"/>
                <a:gd name="T81" fmla="*/ 2265 h 4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94" h="4492">
                  <a:moveTo>
                    <a:pt x="557" y="2265"/>
                  </a:moveTo>
                  <a:lnTo>
                    <a:pt x="557" y="2265"/>
                  </a:lnTo>
                  <a:lnTo>
                    <a:pt x="566" y="2282"/>
                  </a:lnTo>
                  <a:lnTo>
                    <a:pt x="572" y="2301"/>
                  </a:lnTo>
                  <a:lnTo>
                    <a:pt x="579" y="2320"/>
                  </a:lnTo>
                  <a:lnTo>
                    <a:pt x="583" y="2341"/>
                  </a:lnTo>
                  <a:lnTo>
                    <a:pt x="588" y="2364"/>
                  </a:lnTo>
                  <a:lnTo>
                    <a:pt x="590" y="2387"/>
                  </a:lnTo>
                  <a:lnTo>
                    <a:pt x="592" y="2411"/>
                  </a:lnTo>
                  <a:lnTo>
                    <a:pt x="592" y="2436"/>
                  </a:lnTo>
                  <a:lnTo>
                    <a:pt x="592" y="2461"/>
                  </a:lnTo>
                  <a:lnTo>
                    <a:pt x="591" y="2487"/>
                  </a:lnTo>
                  <a:lnTo>
                    <a:pt x="588" y="2542"/>
                  </a:lnTo>
                  <a:lnTo>
                    <a:pt x="582" y="2598"/>
                  </a:lnTo>
                  <a:lnTo>
                    <a:pt x="576" y="2655"/>
                  </a:lnTo>
                  <a:lnTo>
                    <a:pt x="561" y="2771"/>
                  </a:lnTo>
                  <a:lnTo>
                    <a:pt x="555" y="2828"/>
                  </a:lnTo>
                  <a:lnTo>
                    <a:pt x="549" y="2885"/>
                  </a:lnTo>
                  <a:lnTo>
                    <a:pt x="546" y="2939"/>
                  </a:lnTo>
                  <a:lnTo>
                    <a:pt x="546" y="2965"/>
                  </a:lnTo>
                  <a:lnTo>
                    <a:pt x="546" y="2990"/>
                  </a:lnTo>
                  <a:lnTo>
                    <a:pt x="547" y="3015"/>
                  </a:lnTo>
                  <a:lnTo>
                    <a:pt x="549" y="3038"/>
                  </a:lnTo>
                  <a:lnTo>
                    <a:pt x="553" y="3061"/>
                  </a:lnTo>
                  <a:lnTo>
                    <a:pt x="557" y="3083"/>
                  </a:lnTo>
                  <a:lnTo>
                    <a:pt x="557" y="3083"/>
                  </a:lnTo>
                  <a:lnTo>
                    <a:pt x="567" y="3136"/>
                  </a:lnTo>
                  <a:lnTo>
                    <a:pt x="580" y="3209"/>
                  </a:lnTo>
                  <a:lnTo>
                    <a:pt x="595" y="3297"/>
                  </a:lnTo>
                  <a:lnTo>
                    <a:pt x="612" y="3399"/>
                  </a:lnTo>
                  <a:lnTo>
                    <a:pt x="646" y="3628"/>
                  </a:lnTo>
                  <a:lnTo>
                    <a:pt x="682" y="3872"/>
                  </a:lnTo>
                  <a:lnTo>
                    <a:pt x="744" y="4304"/>
                  </a:lnTo>
                  <a:lnTo>
                    <a:pt x="771" y="4492"/>
                  </a:lnTo>
                  <a:lnTo>
                    <a:pt x="771" y="4492"/>
                  </a:lnTo>
                  <a:lnTo>
                    <a:pt x="776" y="4419"/>
                  </a:lnTo>
                  <a:lnTo>
                    <a:pt x="790" y="4225"/>
                  </a:lnTo>
                  <a:lnTo>
                    <a:pt x="812" y="3946"/>
                  </a:lnTo>
                  <a:lnTo>
                    <a:pt x="826" y="3786"/>
                  </a:lnTo>
                  <a:lnTo>
                    <a:pt x="841" y="3620"/>
                  </a:lnTo>
                  <a:lnTo>
                    <a:pt x="858" y="3450"/>
                  </a:lnTo>
                  <a:lnTo>
                    <a:pt x="876" y="3281"/>
                  </a:lnTo>
                  <a:lnTo>
                    <a:pt x="895" y="3120"/>
                  </a:lnTo>
                  <a:lnTo>
                    <a:pt x="914" y="2968"/>
                  </a:lnTo>
                  <a:lnTo>
                    <a:pt x="924" y="2899"/>
                  </a:lnTo>
                  <a:lnTo>
                    <a:pt x="934" y="2833"/>
                  </a:lnTo>
                  <a:lnTo>
                    <a:pt x="945" y="2774"/>
                  </a:lnTo>
                  <a:lnTo>
                    <a:pt x="955" y="2719"/>
                  </a:lnTo>
                  <a:lnTo>
                    <a:pt x="965" y="2670"/>
                  </a:lnTo>
                  <a:lnTo>
                    <a:pt x="976" y="2629"/>
                  </a:lnTo>
                  <a:lnTo>
                    <a:pt x="986" y="2594"/>
                  </a:lnTo>
                  <a:lnTo>
                    <a:pt x="992" y="2580"/>
                  </a:lnTo>
                  <a:lnTo>
                    <a:pt x="997" y="2568"/>
                  </a:lnTo>
                  <a:lnTo>
                    <a:pt x="997" y="2568"/>
                  </a:lnTo>
                  <a:lnTo>
                    <a:pt x="1020" y="2521"/>
                  </a:lnTo>
                  <a:lnTo>
                    <a:pt x="1045" y="2474"/>
                  </a:lnTo>
                  <a:lnTo>
                    <a:pt x="1072" y="2425"/>
                  </a:lnTo>
                  <a:lnTo>
                    <a:pt x="1099" y="2376"/>
                  </a:lnTo>
                  <a:lnTo>
                    <a:pt x="1129" y="2327"/>
                  </a:lnTo>
                  <a:lnTo>
                    <a:pt x="1158" y="2279"/>
                  </a:lnTo>
                  <a:lnTo>
                    <a:pt x="1216" y="2188"/>
                  </a:lnTo>
                  <a:lnTo>
                    <a:pt x="1268" y="2108"/>
                  </a:lnTo>
                  <a:lnTo>
                    <a:pt x="1311" y="2045"/>
                  </a:lnTo>
                  <a:lnTo>
                    <a:pt x="1350" y="1988"/>
                  </a:lnTo>
                  <a:lnTo>
                    <a:pt x="1350" y="944"/>
                  </a:lnTo>
                  <a:lnTo>
                    <a:pt x="1594" y="0"/>
                  </a:lnTo>
                  <a:lnTo>
                    <a:pt x="0" y="0"/>
                  </a:lnTo>
                  <a:lnTo>
                    <a:pt x="54" y="768"/>
                  </a:lnTo>
                  <a:lnTo>
                    <a:pt x="54" y="768"/>
                  </a:lnTo>
                  <a:lnTo>
                    <a:pt x="118" y="977"/>
                  </a:lnTo>
                  <a:lnTo>
                    <a:pt x="186" y="1195"/>
                  </a:lnTo>
                  <a:lnTo>
                    <a:pt x="267" y="1450"/>
                  </a:lnTo>
                  <a:lnTo>
                    <a:pt x="310" y="1583"/>
                  </a:lnTo>
                  <a:lnTo>
                    <a:pt x="353" y="1714"/>
                  </a:lnTo>
                  <a:lnTo>
                    <a:pt x="396" y="1840"/>
                  </a:lnTo>
                  <a:lnTo>
                    <a:pt x="435" y="1957"/>
                  </a:lnTo>
                  <a:lnTo>
                    <a:pt x="473" y="2061"/>
                  </a:lnTo>
                  <a:lnTo>
                    <a:pt x="506" y="2151"/>
                  </a:lnTo>
                  <a:lnTo>
                    <a:pt x="521" y="2188"/>
                  </a:lnTo>
                  <a:lnTo>
                    <a:pt x="534" y="2219"/>
                  </a:lnTo>
                  <a:lnTo>
                    <a:pt x="546" y="2245"/>
                  </a:lnTo>
                  <a:lnTo>
                    <a:pt x="557" y="2265"/>
                  </a:lnTo>
                  <a:lnTo>
                    <a:pt x="557" y="2265"/>
                  </a:lnTo>
                  <a:close/>
                </a:path>
              </a:pathLst>
            </a:custGeom>
            <a:solidFill>
              <a:srgbClr val="4E8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auto">
            <a:xfrm>
              <a:off x="3388570" y="2936910"/>
              <a:ext cx="494021" cy="837546"/>
            </a:xfrm>
            <a:custGeom>
              <a:avLst/>
              <a:gdLst>
                <a:gd name="T0" fmla="*/ 867 w 1812"/>
                <a:gd name="T1" fmla="*/ 0 h 3071"/>
                <a:gd name="T2" fmla="*/ 0 w 1812"/>
                <a:gd name="T3" fmla="*/ 2278 h 3071"/>
                <a:gd name="T4" fmla="*/ 0 w 1812"/>
                <a:gd name="T5" fmla="*/ 3071 h 3071"/>
                <a:gd name="T6" fmla="*/ 1812 w 1812"/>
                <a:gd name="T7" fmla="*/ 0 h 3071"/>
                <a:gd name="T8" fmla="*/ 867 w 1812"/>
                <a:gd name="T9" fmla="*/ 0 h 3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12" h="3071">
                  <a:moveTo>
                    <a:pt x="867" y="0"/>
                  </a:moveTo>
                  <a:lnTo>
                    <a:pt x="0" y="2278"/>
                  </a:lnTo>
                  <a:lnTo>
                    <a:pt x="0" y="3071"/>
                  </a:lnTo>
                  <a:lnTo>
                    <a:pt x="1812" y="0"/>
                  </a:lnTo>
                  <a:lnTo>
                    <a:pt x="867" y="0"/>
                  </a:lnTo>
                  <a:close/>
                </a:path>
              </a:pathLst>
            </a:custGeom>
            <a:solidFill>
              <a:srgbClr val="4E8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3848238" y="2881292"/>
              <a:ext cx="880077" cy="1406815"/>
            </a:xfrm>
            <a:custGeom>
              <a:avLst/>
              <a:gdLst>
                <a:gd name="T0" fmla="*/ 2240 w 3227"/>
                <a:gd name="T1" fmla="*/ 139 h 5160"/>
                <a:gd name="T2" fmla="*/ 2106 w 3227"/>
                <a:gd name="T3" fmla="*/ 338 h 5160"/>
                <a:gd name="T4" fmla="*/ 1884 w 3227"/>
                <a:gd name="T5" fmla="*/ 675 h 5160"/>
                <a:gd name="T6" fmla="*/ 1713 w 3227"/>
                <a:gd name="T7" fmla="*/ 941 h 5160"/>
                <a:gd name="T8" fmla="*/ 1543 w 3227"/>
                <a:gd name="T9" fmla="*/ 1210 h 5160"/>
                <a:gd name="T10" fmla="*/ 1394 w 3227"/>
                <a:gd name="T11" fmla="*/ 1458 h 5160"/>
                <a:gd name="T12" fmla="*/ 1332 w 3227"/>
                <a:gd name="T13" fmla="*/ 1567 h 5160"/>
                <a:gd name="T14" fmla="*/ 1282 w 3227"/>
                <a:gd name="T15" fmla="*/ 1661 h 5160"/>
                <a:gd name="T16" fmla="*/ 1246 w 3227"/>
                <a:gd name="T17" fmla="*/ 1737 h 5160"/>
                <a:gd name="T18" fmla="*/ 1231 w 3227"/>
                <a:gd name="T19" fmla="*/ 1775 h 5160"/>
                <a:gd name="T20" fmla="*/ 1192 w 3227"/>
                <a:gd name="T21" fmla="*/ 1883 h 5160"/>
                <a:gd name="T22" fmla="*/ 1114 w 3227"/>
                <a:gd name="T23" fmla="*/ 2111 h 5160"/>
                <a:gd name="T24" fmla="*/ 905 w 3227"/>
                <a:gd name="T25" fmla="*/ 2752 h 5160"/>
                <a:gd name="T26" fmla="*/ 736 w 3227"/>
                <a:gd name="T27" fmla="*/ 3264 h 5160"/>
                <a:gd name="T28" fmla="*/ 553 w 3227"/>
                <a:gd name="T29" fmla="*/ 3798 h 5160"/>
                <a:gd name="T30" fmla="*/ 460 w 3227"/>
                <a:gd name="T31" fmla="*/ 4063 h 5160"/>
                <a:gd name="T32" fmla="*/ 365 w 3227"/>
                <a:gd name="T33" fmla="*/ 4319 h 5160"/>
                <a:gd name="T34" fmla="*/ 270 w 3227"/>
                <a:gd name="T35" fmla="*/ 4561 h 5160"/>
                <a:gd name="T36" fmla="*/ 178 w 3227"/>
                <a:gd name="T37" fmla="*/ 4785 h 5160"/>
                <a:gd name="T38" fmla="*/ 87 w 3227"/>
                <a:gd name="T39" fmla="*/ 4985 h 5160"/>
                <a:gd name="T40" fmla="*/ 22 w 3227"/>
                <a:gd name="T41" fmla="*/ 5119 h 5160"/>
                <a:gd name="T42" fmla="*/ 0 w 3227"/>
                <a:gd name="T43" fmla="*/ 5160 h 5160"/>
                <a:gd name="T44" fmla="*/ 565 w 3227"/>
                <a:gd name="T45" fmla="*/ 4246 h 5160"/>
                <a:gd name="T46" fmla="*/ 1067 w 3227"/>
                <a:gd name="T47" fmla="*/ 3426 h 5160"/>
                <a:gd name="T48" fmla="*/ 1429 w 3227"/>
                <a:gd name="T49" fmla="*/ 2828 h 5160"/>
                <a:gd name="T50" fmla="*/ 1536 w 3227"/>
                <a:gd name="T51" fmla="*/ 2649 h 5160"/>
                <a:gd name="T52" fmla="*/ 1727 w 3227"/>
                <a:gd name="T53" fmla="*/ 2332 h 5160"/>
                <a:gd name="T54" fmla="*/ 1952 w 3227"/>
                <a:gd name="T55" fmla="*/ 1971 h 5160"/>
                <a:gd name="T56" fmla="*/ 2196 w 3227"/>
                <a:gd name="T57" fmla="*/ 1586 h 5160"/>
                <a:gd name="T58" fmla="*/ 2687 w 3227"/>
                <a:gd name="T59" fmla="*/ 826 h 5160"/>
                <a:gd name="T60" fmla="*/ 3091 w 3227"/>
                <a:gd name="T61" fmla="*/ 207 h 5160"/>
                <a:gd name="T62" fmla="*/ 2597 w 3227"/>
                <a:gd name="T63" fmla="*/ 0 h 5160"/>
                <a:gd name="T64" fmla="*/ 2533 w 3227"/>
                <a:gd name="T65" fmla="*/ 16 h 5160"/>
                <a:gd name="T66" fmla="*/ 2416 w 3227"/>
                <a:gd name="T67" fmla="*/ 49 h 5160"/>
                <a:gd name="T68" fmla="*/ 2343 w 3227"/>
                <a:gd name="T69" fmla="*/ 75 h 5160"/>
                <a:gd name="T70" fmla="*/ 2302 w 3227"/>
                <a:gd name="T71" fmla="*/ 93 h 5160"/>
                <a:gd name="T72" fmla="*/ 2270 w 3227"/>
                <a:gd name="T73" fmla="*/ 111 h 5160"/>
                <a:gd name="T74" fmla="*/ 2248 w 3227"/>
                <a:gd name="T75" fmla="*/ 129 h 5160"/>
                <a:gd name="T76" fmla="*/ 2240 w 3227"/>
                <a:gd name="T77" fmla="*/ 139 h 5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27" h="5160">
                  <a:moveTo>
                    <a:pt x="2240" y="139"/>
                  </a:moveTo>
                  <a:lnTo>
                    <a:pt x="2240" y="139"/>
                  </a:lnTo>
                  <a:lnTo>
                    <a:pt x="2203" y="192"/>
                  </a:lnTo>
                  <a:lnTo>
                    <a:pt x="2106" y="338"/>
                  </a:lnTo>
                  <a:lnTo>
                    <a:pt x="1966" y="552"/>
                  </a:lnTo>
                  <a:lnTo>
                    <a:pt x="1884" y="675"/>
                  </a:lnTo>
                  <a:lnTo>
                    <a:pt x="1799" y="806"/>
                  </a:lnTo>
                  <a:lnTo>
                    <a:pt x="1713" y="941"/>
                  </a:lnTo>
                  <a:lnTo>
                    <a:pt x="1627" y="1076"/>
                  </a:lnTo>
                  <a:lnTo>
                    <a:pt x="1543" y="1210"/>
                  </a:lnTo>
                  <a:lnTo>
                    <a:pt x="1465" y="1338"/>
                  </a:lnTo>
                  <a:lnTo>
                    <a:pt x="1394" y="1458"/>
                  </a:lnTo>
                  <a:lnTo>
                    <a:pt x="1361" y="1515"/>
                  </a:lnTo>
                  <a:lnTo>
                    <a:pt x="1332" y="1567"/>
                  </a:lnTo>
                  <a:lnTo>
                    <a:pt x="1306" y="1616"/>
                  </a:lnTo>
                  <a:lnTo>
                    <a:pt x="1282" y="1661"/>
                  </a:lnTo>
                  <a:lnTo>
                    <a:pt x="1262" y="1701"/>
                  </a:lnTo>
                  <a:lnTo>
                    <a:pt x="1246" y="1737"/>
                  </a:lnTo>
                  <a:lnTo>
                    <a:pt x="1246" y="1737"/>
                  </a:lnTo>
                  <a:lnTo>
                    <a:pt x="1231" y="1775"/>
                  </a:lnTo>
                  <a:lnTo>
                    <a:pt x="1212" y="1824"/>
                  </a:lnTo>
                  <a:lnTo>
                    <a:pt x="1192" y="1883"/>
                  </a:lnTo>
                  <a:lnTo>
                    <a:pt x="1168" y="1950"/>
                  </a:lnTo>
                  <a:lnTo>
                    <a:pt x="1114" y="2111"/>
                  </a:lnTo>
                  <a:lnTo>
                    <a:pt x="1051" y="2302"/>
                  </a:lnTo>
                  <a:lnTo>
                    <a:pt x="905" y="2752"/>
                  </a:lnTo>
                  <a:lnTo>
                    <a:pt x="822" y="3003"/>
                  </a:lnTo>
                  <a:lnTo>
                    <a:pt x="736" y="3264"/>
                  </a:lnTo>
                  <a:lnTo>
                    <a:pt x="646" y="3530"/>
                  </a:lnTo>
                  <a:lnTo>
                    <a:pt x="553" y="3798"/>
                  </a:lnTo>
                  <a:lnTo>
                    <a:pt x="507" y="3931"/>
                  </a:lnTo>
                  <a:lnTo>
                    <a:pt x="460" y="4063"/>
                  </a:lnTo>
                  <a:lnTo>
                    <a:pt x="412" y="4193"/>
                  </a:lnTo>
                  <a:lnTo>
                    <a:pt x="365" y="4319"/>
                  </a:lnTo>
                  <a:lnTo>
                    <a:pt x="317" y="4442"/>
                  </a:lnTo>
                  <a:lnTo>
                    <a:pt x="270" y="4561"/>
                  </a:lnTo>
                  <a:lnTo>
                    <a:pt x="224" y="4675"/>
                  </a:lnTo>
                  <a:lnTo>
                    <a:pt x="178" y="4785"/>
                  </a:lnTo>
                  <a:lnTo>
                    <a:pt x="132" y="4888"/>
                  </a:lnTo>
                  <a:lnTo>
                    <a:pt x="87" y="4985"/>
                  </a:lnTo>
                  <a:lnTo>
                    <a:pt x="44" y="5077"/>
                  </a:lnTo>
                  <a:lnTo>
                    <a:pt x="22" y="5119"/>
                  </a:lnTo>
                  <a:lnTo>
                    <a:pt x="0" y="5160"/>
                  </a:lnTo>
                  <a:lnTo>
                    <a:pt x="0" y="5160"/>
                  </a:lnTo>
                  <a:lnTo>
                    <a:pt x="164" y="4895"/>
                  </a:lnTo>
                  <a:lnTo>
                    <a:pt x="565" y="4246"/>
                  </a:lnTo>
                  <a:lnTo>
                    <a:pt x="812" y="3844"/>
                  </a:lnTo>
                  <a:lnTo>
                    <a:pt x="1067" y="3426"/>
                  </a:lnTo>
                  <a:lnTo>
                    <a:pt x="1315" y="3019"/>
                  </a:lnTo>
                  <a:lnTo>
                    <a:pt x="1429" y="2828"/>
                  </a:lnTo>
                  <a:lnTo>
                    <a:pt x="1536" y="2649"/>
                  </a:lnTo>
                  <a:lnTo>
                    <a:pt x="1536" y="2649"/>
                  </a:lnTo>
                  <a:lnTo>
                    <a:pt x="1626" y="2497"/>
                  </a:lnTo>
                  <a:lnTo>
                    <a:pt x="1727" y="2332"/>
                  </a:lnTo>
                  <a:lnTo>
                    <a:pt x="1836" y="2156"/>
                  </a:lnTo>
                  <a:lnTo>
                    <a:pt x="1952" y="1971"/>
                  </a:lnTo>
                  <a:lnTo>
                    <a:pt x="2073" y="1781"/>
                  </a:lnTo>
                  <a:lnTo>
                    <a:pt x="2196" y="1586"/>
                  </a:lnTo>
                  <a:lnTo>
                    <a:pt x="2445" y="1199"/>
                  </a:lnTo>
                  <a:lnTo>
                    <a:pt x="2687" y="826"/>
                  </a:lnTo>
                  <a:lnTo>
                    <a:pt x="2906" y="489"/>
                  </a:lnTo>
                  <a:lnTo>
                    <a:pt x="3091" y="207"/>
                  </a:lnTo>
                  <a:lnTo>
                    <a:pt x="3227" y="0"/>
                  </a:lnTo>
                  <a:lnTo>
                    <a:pt x="2597" y="0"/>
                  </a:lnTo>
                  <a:lnTo>
                    <a:pt x="2597" y="0"/>
                  </a:lnTo>
                  <a:lnTo>
                    <a:pt x="2533" y="16"/>
                  </a:lnTo>
                  <a:lnTo>
                    <a:pt x="2472" y="32"/>
                  </a:lnTo>
                  <a:lnTo>
                    <a:pt x="2416" y="49"/>
                  </a:lnTo>
                  <a:lnTo>
                    <a:pt x="2365" y="66"/>
                  </a:lnTo>
                  <a:lnTo>
                    <a:pt x="2343" y="75"/>
                  </a:lnTo>
                  <a:lnTo>
                    <a:pt x="2321" y="85"/>
                  </a:lnTo>
                  <a:lnTo>
                    <a:pt x="2302" y="93"/>
                  </a:lnTo>
                  <a:lnTo>
                    <a:pt x="2285" y="102"/>
                  </a:lnTo>
                  <a:lnTo>
                    <a:pt x="2270" y="111"/>
                  </a:lnTo>
                  <a:lnTo>
                    <a:pt x="2258" y="121"/>
                  </a:lnTo>
                  <a:lnTo>
                    <a:pt x="2248" y="129"/>
                  </a:lnTo>
                  <a:lnTo>
                    <a:pt x="2240" y="139"/>
                  </a:lnTo>
                  <a:lnTo>
                    <a:pt x="2240" y="139"/>
                  </a:lnTo>
                  <a:close/>
                </a:path>
              </a:pathLst>
            </a:custGeom>
            <a:solidFill>
              <a:srgbClr val="4E8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4617079" y="2881292"/>
              <a:ext cx="497293" cy="533281"/>
            </a:xfrm>
            <a:custGeom>
              <a:avLst/>
              <a:gdLst>
                <a:gd name="T0" fmla="*/ 1824 w 1824"/>
                <a:gd name="T1" fmla="*/ 0 h 1950"/>
                <a:gd name="T2" fmla="*/ 1144 w 1824"/>
                <a:gd name="T3" fmla="*/ 0 h 1950"/>
                <a:gd name="T4" fmla="*/ 0 w 1824"/>
                <a:gd name="T5" fmla="*/ 1950 h 1950"/>
                <a:gd name="T6" fmla="*/ 1824 w 1824"/>
                <a:gd name="T7" fmla="*/ 0 h 19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24" h="1950">
                  <a:moveTo>
                    <a:pt x="1824" y="0"/>
                  </a:moveTo>
                  <a:lnTo>
                    <a:pt x="1144" y="0"/>
                  </a:lnTo>
                  <a:lnTo>
                    <a:pt x="0" y="1950"/>
                  </a:lnTo>
                  <a:lnTo>
                    <a:pt x="1824" y="0"/>
                  </a:lnTo>
                  <a:close/>
                </a:path>
              </a:pathLst>
            </a:custGeom>
            <a:solidFill>
              <a:srgbClr val="4E8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auto">
            <a:xfrm>
              <a:off x="2202591" y="4356812"/>
              <a:ext cx="482571" cy="680506"/>
            </a:xfrm>
            <a:custGeom>
              <a:avLst/>
              <a:gdLst>
                <a:gd name="T0" fmla="*/ 0 w 1774"/>
                <a:gd name="T1" fmla="*/ 0 h 2492"/>
                <a:gd name="T2" fmla="*/ 0 w 1774"/>
                <a:gd name="T3" fmla="*/ 37 h 2492"/>
                <a:gd name="T4" fmla="*/ 75 w 1774"/>
                <a:gd name="T5" fmla="*/ 428 h 2492"/>
                <a:gd name="T6" fmla="*/ 466 w 1774"/>
                <a:gd name="T7" fmla="*/ 541 h 2492"/>
                <a:gd name="T8" fmla="*/ 1774 w 1774"/>
                <a:gd name="T9" fmla="*/ 2492 h 2492"/>
                <a:gd name="T10" fmla="*/ 743 w 1774"/>
                <a:gd name="T11" fmla="*/ 37 h 2492"/>
                <a:gd name="T12" fmla="*/ 0 w 1774"/>
                <a:gd name="T13" fmla="*/ 0 h 2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74" h="2492">
                  <a:moveTo>
                    <a:pt x="0" y="0"/>
                  </a:moveTo>
                  <a:lnTo>
                    <a:pt x="0" y="37"/>
                  </a:lnTo>
                  <a:lnTo>
                    <a:pt x="75" y="428"/>
                  </a:lnTo>
                  <a:lnTo>
                    <a:pt x="466" y="541"/>
                  </a:lnTo>
                  <a:lnTo>
                    <a:pt x="1774" y="2492"/>
                  </a:lnTo>
                  <a:lnTo>
                    <a:pt x="743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E8FC5"/>
            </a:solidFill>
            <a:ln w="9525">
              <a:solidFill>
                <a:srgbClr val="4E8FC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auto">
            <a:xfrm>
              <a:off x="2802942" y="4468049"/>
              <a:ext cx="397508" cy="1614566"/>
            </a:xfrm>
            <a:custGeom>
              <a:avLst/>
              <a:gdLst>
                <a:gd name="T0" fmla="*/ 0 w 1459"/>
                <a:gd name="T1" fmla="*/ 0 h 5927"/>
                <a:gd name="T2" fmla="*/ 868 w 1459"/>
                <a:gd name="T3" fmla="*/ 2454 h 5927"/>
                <a:gd name="T4" fmla="*/ 138 w 1459"/>
                <a:gd name="T5" fmla="*/ 3623 h 5927"/>
                <a:gd name="T6" fmla="*/ 742 w 1459"/>
                <a:gd name="T7" fmla="*/ 5927 h 5927"/>
                <a:gd name="T8" fmla="*/ 742 w 1459"/>
                <a:gd name="T9" fmla="*/ 4756 h 5927"/>
                <a:gd name="T10" fmla="*/ 1459 w 1459"/>
                <a:gd name="T11" fmla="*/ 2780 h 5927"/>
                <a:gd name="T12" fmla="*/ 1346 w 1459"/>
                <a:gd name="T13" fmla="*/ 1459 h 5927"/>
                <a:gd name="T14" fmla="*/ 0 w 1459"/>
                <a:gd name="T15" fmla="*/ 0 h 59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9" h="5927">
                  <a:moveTo>
                    <a:pt x="0" y="0"/>
                  </a:moveTo>
                  <a:lnTo>
                    <a:pt x="868" y="2454"/>
                  </a:lnTo>
                  <a:lnTo>
                    <a:pt x="138" y="3623"/>
                  </a:lnTo>
                  <a:lnTo>
                    <a:pt x="742" y="5927"/>
                  </a:lnTo>
                  <a:lnTo>
                    <a:pt x="742" y="4756"/>
                  </a:lnTo>
                  <a:lnTo>
                    <a:pt x="1459" y="2780"/>
                  </a:lnTo>
                  <a:lnTo>
                    <a:pt x="1346" y="14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E8FC5"/>
            </a:solidFill>
            <a:ln w="28575">
              <a:solidFill>
                <a:srgbClr val="4E8FC5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22"/>
            <p:cNvSpPr>
              <a:spLocks/>
            </p:cNvSpPr>
            <p:nvPr/>
          </p:nvSpPr>
          <p:spPr bwMode="auto">
            <a:xfrm>
              <a:off x="3447460" y="4078721"/>
              <a:ext cx="356611" cy="999494"/>
            </a:xfrm>
            <a:custGeom>
              <a:avLst/>
              <a:gdLst>
                <a:gd name="T0" fmla="*/ 0 w 1308"/>
                <a:gd name="T1" fmla="*/ 0 h 3664"/>
                <a:gd name="T2" fmla="*/ 1205 w 1308"/>
                <a:gd name="T3" fmla="*/ 3664 h 3664"/>
                <a:gd name="T4" fmla="*/ 1208 w 1308"/>
                <a:gd name="T5" fmla="*/ 3661 h 3664"/>
                <a:gd name="T6" fmla="*/ 881 w 1308"/>
                <a:gd name="T7" fmla="*/ 1497 h 3664"/>
                <a:gd name="T8" fmla="*/ 1208 w 1308"/>
                <a:gd name="T9" fmla="*/ 2605 h 3664"/>
                <a:gd name="T10" fmla="*/ 1308 w 1308"/>
                <a:gd name="T11" fmla="*/ 2367 h 3664"/>
                <a:gd name="T12" fmla="*/ 1146 w 1308"/>
                <a:gd name="T13" fmla="*/ 1094 h 3664"/>
                <a:gd name="T14" fmla="*/ 0 w 1308"/>
                <a:gd name="T15" fmla="*/ 0 h 3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8" h="3664">
                  <a:moveTo>
                    <a:pt x="0" y="0"/>
                  </a:moveTo>
                  <a:lnTo>
                    <a:pt x="1205" y="3664"/>
                  </a:lnTo>
                  <a:lnTo>
                    <a:pt x="1208" y="3661"/>
                  </a:lnTo>
                  <a:lnTo>
                    <a:pt x="881" y="1497"/>
                  </a:lnTo>
                  <a:lnTo>
                    <a:pt x="1208" y="2605"/>
                  </a:lnTo>
                  <a:lnTo>
                    <a:pt x="1308" y="2367"/>
                  </a:lnTo>
                  <a:lnTo>
                    <a:pt x="1146" y="10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E8F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7" name="Ellipse 44"/>
          <p:cNvSpPr/>
          <p:nvPr/>
        </p:nvSpPr>
        <p:spPr>
          <a:xfrm>
            <a:off x="3036972" y="6352568"/>
            <a:ext cx="45719" cy="45719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Ellipse 45"/>
          <p:cNvSpPr/>
          <p:nvPr/>
        </p:nvSpPr>
        <p:spPr>
          <a:xfrm>
            <a:off x="3779912" y="1439065"/>
            <a:ext cx="45719" cy="45719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Ellipse 46"/>
          <p:cNvSpPr/>
          <p:nvPr/>
        </p:nvSpPr>
        <p:spPr>
          <a:xfrm>
            <a:off x="6228184" y="1439065"/>
            <a:ext cx="45719" cy="45719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Ellipse 47"/>
          <p:cNvSpPr/>
          <p:nvPr/>
        </p:nvSpPr>
        <p:spPr>
          <a:xfrm>
            <a:off x="6228184" y="6352568"/>
            <a:ext cx="45719" cy="45719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1" name="Connecteur droit 49"/>
          <p:cNvCxnSpPr/>
          <p:nvPr/>
        </p:nvCxnSpPr>
        <p:spPr>
          <a:xfrm>
            <a:off x="3059832" y="6352568"/>
            <a:ext cx="2598255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51"/>
          <p:cNvCxnSpPr/>
          <p:nvPr/>
        </p:nvCxnSpPr>
        <p:spPr>
          <a:xfrm>
            <a:off x="3802771" y="1439065"/>
            <a:ext cx="1852332" cy="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Ellipse 61"/>
          <p:cNvSpPr/>
          <p:nvPr/>
        </p:nvSpPr>
        <p:spPr>
          <a:xfrm>
            <a:off x="6228184" y="2852936"/>
            <a:ext cx="45719" cy="45719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34" name="Connecteur droit 63"/>
          <p:cNvCxnSpPr/>
          <p:nvPr/>
        </p:nvCxnSpPr>
        <p:spPr>
          <a:xfrm flipH="1">
            <a:off x="5652120" y="1439065"/>
            <a:ext cx="1" cy="1422597"/>
          </a:xfrm>
          <a:prstGeom prst="line">
            <a:avLst/>
          </a:prstGeom>
          <a:ln w="5715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65"/>
          <p:cNvCxnSpPr/>
          <p:nvPr/>
        </p:nvCxnSpPr>
        <p:spPr>
          <a:xfrm flipV="1">
            <a:off x="5652120" y="2893561"/>
            <a:ext cx="5967" cy="3459007"/>
          </a:xfrm>
          <a:prstGeom prst="line">
            <a:avLst/>
          </a:prstGeom>
          <a:ln w="5715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69"/>
          <p:cNvSpPr txBox="1"/>
          <p:nvPr/>
        </p:nvSpPr>
        <p:spPr>
          <a:xfrm>
            <a:off x="5855318" y="1987456"/>
            <a:ext cx="21446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 smtClean="0"/>
              <a:t>Transactions &gt; $10</a:t>
            </a:r>
          </a:p>
        </p:txBody>
      </p:sp>
      <p:sp>
        <p:nvSpPr>
          <p:cNvPr id="37" name="ZoneTexte 71"/>
          <p:cNvSpPr txBox="1"/>
          <p:nvPr/>
        </p:nvSpPr>
        <p:spPr>
          <a:xfrm>
            <a:off x="5971138" y="4356812"/>
            <a:ext cx="21446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800" dirty="0" smtClean="0"/>
              <a:t>Transactions &lt; $10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8485854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8% of Transactions </a:t>
            </a:r>
            <a:r>
              <a:rPr lang="en-US" dirty="0" smtClean="0"/>
              <a:t>&lt; $1</a:t>
            </a:r>
            <a:endParaRPr lang="en-US" dirty="0"/>
          </a:p>
        </p:txBody>
      </p:sp>
      <p:pic>
        <p:nvPicPr>
          <p:cNvPr id="3" name="Picture 20" descr="C:\Users\Ashok Venkataraman\Desktop\test.png"/>
          <p:cNvPicPr>
            <a:picLocks noChangeAspect="1" noChangeArrowheads="1"/>
          </p:cNvPicPr>
          <p:nvPr/>
        </p:nvPicPr>
        <p:blipFill rotWithShape="1">
          <a:blip r:embed="rId2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89" t="5084" r="5572" b="6080"/>
          <a:stretch/>
        </p:blipFill>
        <p:spPr bwMode="auto">
          <a:xfrm>
            <a:off x="255606" y="1639141"/>
            <a:ext cx="3035216" cy="3414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0822" y="1345915"/>
            <a:ext cx="5799654" cy="4016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9716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9852" y="-47630"/>
            <a:ext cx="4468284" cy="33512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303582"/>
            <a:ext cx="5894172" cy="35365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8432" y="0"/>
            <a:ext cx="5457569" cy="3317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8999" y="3303581"/>
            <a:ext cx="4457002" cy="3576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745592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6066" name="Picture 3" descr="IMG_9823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417888" cy="451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06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5874" y="-1"/>
            <a:ext cx="5510126" cy="3947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068" name="Picture 6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4191001"/>
            <a:ext cx="4495800" cy="2998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6069" name="Picture 6" descr="DSC00099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5874" y="3389313"/>
            <a:ext cx="5510126" cy="3800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15415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27196" y="1868653"/>
            <a:ext cx="6201071" cy="677108"/>
          </a:xfrm>
        </p:spPr>
        <p:txBody>
          <a:bodyPr/>
          <a:lstStyle/>
          <a:p>
            <a:pPr algn="ctr"/>
            <a:r>
              <a:rPr lang="en-US" sz="4400" dirty="0" smtClean="0"/>
              <a:t>Thank You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3436552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POINTVERSION" val="14.0"/>
  <p:tag name="SAVECSVWITHSESSION" val="False"/>
  <p:tag name="ANSWERNOWTEXT" val="Answer Now"/>
  <p:tag name="RESPTABLESTYLE" val="-1"/>
  <p:tag name="ALLOWDUPLICATES" val="False"/>
  <p:tag name="AUTOADVANCE" val="False"/>
  <p:tag name="STDCHART" val="1"/>
  <p:tag name="SKIPREMAININGRACESLIDES" val="True"/>
  <p:tag name="BUBBLENAMEVISIBLE" val="True"/>
  <p:tag name="DEFAULTNUMTEAMS" val="5"/>
  <p:tag name="CUSTOMCELLBACKCOLOR2" val="-13395457"/>
  <p:tag name="DISPLAYNAME" val="True"/>
  <p:tag name="GRIDROTATIONINTERVAL" val="2"/>
  <p:tag name="GRIDFONTSIZE" val="12"/>
  <p:tag name="RESETCHARTS" val="True"/>
  <p:tag name="ALLOWUSERFEEDBACK" val="True"/>
  <p:tag name="REALTIMEBACKUPPATH" val="(None)"/>
  <p:tag name="ADVANCEDSETTINGSVIEW" val="False"/>
  <p:tag name="FIBDISPLAYKEYWORDS" val="True"/>
  <p:tag name="PRRESPONSE4" val="7"/>
  <p:tag name="PRRESPONSE8" val="3"/>
  <p:tag name="ALWAYSOPENPOLL" val="False"/>
  <p:tag name="EXPANDSHOWBAR" val="True"/>
  <p:tag name="ANSWERNOWSTYLE" val="-1"/>
  <p:tag name="COUNTDOWNSECONDS" val="10"/>
  <p:tag name="BACKUPMAINTENANCE" val="7"/>
  <p:tag name="AUTOUPDATEALIASES" val="True"/>
  <p:tag name="PARTICIPANTSINLEADERBOARD" val="5"/>
  <p:tag name="BUBBLEVALUEFORMAT" val="0.0"/>
  <p:tag name="CUSTOMCELLBACKCOLOR1" val="-657956"/>
  <p:tag name="DISPLAYDEVICENUMBER" val="True"/>
  <p:tag name="GRIDSIZE" val="{Width=800, Height=600}"/>
  <p:tag name="CHARTLABELS" val="1"/>
  <p:tag name="CORRECTPOINTVALUE" val="1"/>
  <p:tag name="AUTOADJUSTPARTRANGE" val="True"/>
  <p:tag name="FIBINCLUDEOTHER" val="True"/>
  <p:tag name="PRRESPONSE5" val="6"/>
  <p:tag name="PRRESPONSE10" val="1"/>
  <p:tag name="USESECONDARYMONITOR" val="True"/>
  <p:tag name="RESPCOUNTERSTYLE" val="-1"/>
  <p:tag name="BACKUPSESSIONS" val="True"/>
  <p:tag name="RACEENDPOINTS" val="100"/>
  <p:tag name="MAXRESPONDERS" val="5"/>
  <p:tag name="CUSTOMCELLFORECOLOR" val="-16777216"/>
  <p:tag name="DISPLAYDEVICEID" val="True"/>
  <p:tag name="POLLINGCYCLE" val="2"/>
  <p:tag name="INCLUDEPPT" val="True"/>
  <p:tag name="CHARTSCALE" val="True"/>
  <p:tag name="PRRESPONSE2" val="9"/>
  <p:tag name="PRRESPONSE9" val="2"/>
  <p:tag name="TASKPANEKEY" val="c4924669-c2f7-4d5d-9c7f-ecacc9d0078c"/>
  <p:tag name="BULLETTYPE" val="3"/>
  <p:tag name="NUMRESPONSES" val="1"/>
  <p:tag name="RACERSMAXDISPLAYED" val="5"/>
  <p:tag name="BUBBLEGROUPING" val="3"/>
  <p:tag name="USESCHEMECOLORS" val="True"/>
  <p:tag name="CHARTCOLORS" val="0"/>
  <p:tag name="REALTIMEBACKUP" val="False"/>
  <p:tag name="PRRESPONSE1" val="10"/>
  <p:tag name="SHOWFLASHWARNING" val="True"/>
  <p:tag name="SHOWBARVISIBLE" val="True"/>
  <p:tag name="INPUTSOURCE" val="1"/>
  <p:tag name="RACEANIMATIONSPEED" val="3"/>
  <p:tag name="CUSTOMCELLBACKCOLOR3" val="-268652"/>
  <p:tag name="GRIDPOSITION" val="1"/>
  <p:tag name="ZEROBASED" val="False"/>
  <p:tag name="PRRESPONSE6" val="5"/>
  <p:tag name="TPVERSION" val="2008"/>
  <p:tag name="CHARTVALUEFORMAT" val="0%"/>
  <p:tag name="BUBBLESIZEVISIBLE" val="True"/>
  <p:tag name="AUTOSIZEGRID" val="True"/>
  <p:tag name="FIBDISPLAYRESULTS" val="True"/>
  <p:tag name="CS" val="1,2"/>
  <p:tag name="RESPCOUNTERFORMAT" val="0"/>
  <p:tag name="CUSTOMGRIDBACKCOLOR" val="-722948"/>
  <p:tag name="MULTIRESPDIVISOR" val="1"/>
  <p:tag name="PRRESPONSE7" val="4"/>
  <p:tag name="REVIEWONLY" val="False"/>
  <p:tag name="GRIDOPACITY" val="90"/>
  <p:tag name="PRRESPONSE3" val="8"/>
  <p:tag name="ROTATIONINTERVAL" val="2"/>
  <p:tag name="INCORRECTPOINTVALUE" val="0"/>
  <p:tag name="COUNTDOWNSTYLE" val="-1"/>
  <p:tag name="FIBNUMRESULTS" val="5"/>
  <p:tag name="CUSTOMCELLBACKCOLOR4" val="-8355712"/>
  <p:tag name="TEAMSINLEADERBOARD" val="5"/>
  <p:tag name="INCLUDENONRESPONDERS" val="False"/>
  <p:tag name="CSVFORMAT" val="0"/>
  <p:tag name="DELIMITERS" val="3.1"/>
  <p:tag name="TPFULLVERSION" val="4.5.1.2243"/>
  <p:tag name="INCLUDESESSION" val="True"/>
  <p:tag name="ISNEWSLIDENUMBER" val="False"/>
  <p:tag name="PREVIOUSNAME" val="C:\Users\Gillian Pais\Documents\EquityBank\20150122 Workshop 1 - McKinsey workstream close-out v1.pptx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 %1 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2&quot;&gt;&lt;elem m_fUsage=&quot;2.71000000000000000000E+000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elem m_fUsage=&quot;2.50703100000000000000E+000&quot;&gt;&lt;m_msothmcolidx val=&quot;0&quot;/&gt;&lt;m_rgb r=&quot;e6&quot; g=&quot;9c&quot; b=&quot;53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Equity Bank_CF_YEQ001">
  <a:themeElements>
    <a:clrScheme name="Current">
      <a:dk1>
        <a:srgbClr val="000000"/>
      </a:dk1>
      <a:lt1>
        <a:srgbClr val="FFFFFF"/>
      </a:lt1>
      <a:dk2>
        <a:srgbClr val="A84B0E"/>
      </a:dk2>
      <a:lt2>
        <a:srgbClr val="FFFFFF"/>
      </a:lt2>
      <a:accent1>
        <a:srgbClr val="DBB9A4"/>
      </a:accent1>
      <a:accent2>
        <a:srgbClr val="BF8059"/>
      </a:accent2>
      <a:accent3>
        <a:srgbClr val="A84B0E"/>
      </a:accent3>
      <a:accent4>
        <a:srgbClr val="78370A"/>
      </a:accent4>
      <a:accent5>
        <a:srgbClr val="E69A4E"/>
      </a:accent5>
      <a:accent6>
        <a:srgbClr val="808080"/>
      </a:accent6>
      <a:hlink>
        <a:srgbClr val="A84B0E"/>
      </a:hlink>
      <a:folHlink>
        <a:srgbClr val="78370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A84B0E"/>
        </a:dk2>
        <a:lt2>
          <a:srgbClr val="FFFFFF"/>
        </a:lt2>
        <a:accent1>
          <a:srgbClr val="DBB9A4"/>
        </a:accent1>
        <a:accent2>
          <a:srgbClr val="BF8059"/>
        </a:accent2>
        <a:accent3>
          <a:srgbClr val="A84B0E"/>
        </a:accent3>
        <a:accent4>
          <a:srgbClr val="78370A"/>
        </a:accent4>
        <a:accent5>
          <a:srgbClr val="E69A4E"/>
        </a:accent5>
        <a:accent6>
          <a:srgbClr val="808080"/>
        </a:accent6>
        <a:hlink>
          <a:srgbClr val="A84B0E"/>
        </a:hlink>
        <a:folHlink>
          <a:srgbClr val="78370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58F31BF6C948438E53C2CFC5C72515" ma:contentTypeVersion="3" ma:contentTypeDescription="Create a new document." ma:contentTypeScope="" ma:versionID="321f35c40cf7922ba3961b8476b4f41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d7e0e5df24a3b506f0198320ca4e7169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98CDB09-04AD-4520-B794-940F99AA8F0B}"/>
</file>

<file path=customXml/itemProps2.xml><?xml version="1.0" encoding="utf-8"?>
<ds:datastoreItem xmlns:ds="http://schemas.openxmlformats.org/officeDocument/2006/customXml" ds:itemID="{71F82CBF-4834-426B-9B44-06A0960055D2}"/>
</file>

<file path=customXml/itemProps3.xml><?xml version="1.0" encoding="utf-8"?>
<ds:datastoreItem xmlns:ds="http://schemas.openxmlformats.org/officeDocument/2006/customXml" ds:itemID="{9F3E8E87-604C-4C81-9C4F-51FEFE183592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653</TotalTime>
  <Words>101</Words>
  <Application>Microsoft Macintosh PowerPoint</Application>
  <PresentationFormat>A4 Paper (210x297 mm)</PresentationFormat>
  <Paragraphs>41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Arial Unicode MS</vt:lpstr>
      <vt:lpstr>Century Gothic</vt:lpstr>
      <vt:lpstr>Monotype Sorts</vt:lpstr>
      <vt:lpstr>ＭＳ Ｐゴシック</vt:lpstr>
      <vt:lpstr>Tahoma</vt:lpstr>
      <vt:lpstr>Arial</vt:lpstr>
      <vt:lpstr>Equity Bank_CF_YEQ001</vt:lpstr>
      <vt:lpstr>think-cell Slide</vt:lpstr>
      <vt:lpstr>Merchant Payments  ITU Digital Financial Services Workshop</vt:lpstr>
      <vt:lpstr>Merchants &amp; Agents</vt:lpstr>
      <vt:lpstr>Cash is Still King!</vt:lpstr>
      <vt:lpstr>Card Payments Decline</vt:lpstr>
      <vt:lpstr>The Challenge</vt:lpstr>
      <vt:lpstr>48% of Transactions &lt; $1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Sara Steffi Joseph</dc:creator>
  <cp:lastModifiedBy>Ronald James Webb</cp:lastModifiedBy>
  <cp:revision>4247</cp:revision>
  <cp:lastPrinted>2015-02-08T18:55:02Z</cp:lastPrinted>
  <dcterms:created xsi:type="dcterms:W3CDTF">2014-09-26T19:12:28Z</dcterms:created>
  <dcterms:modified xsi:type="dcterms:W3CDTF">2015-12-10T10:10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VGCompatibilityCheck Run By">
    <vt:lpwstr>deepalakshmi n mural</vt:lpwstr>
  </property>
  <property fmtid="{D5CDD505-2E9C-101B-9397-08002B2CF9AE}" pid="10" name="VGCompatibilityCheck Run On ">
    <vt:lpwstr>6/19/2014 4:12:03 AM</vt:lpwstr>
  </property>
  <property fmtid="{D5CDD505-2E9C-101B-9397-08002B2CF9AE}" pid="11" name="DocID">
    <vt:lpwstr>Doc ID</vt:lpwstr>
  </property>
  <property fmtid="{D5CDD505-2E9C-101B-9397-08002B2CF9AE}" pid="12" name="Office2010WasSaved">
    <vt:lpwstr>1</vt:lpwstr>
  </property>
  <property fmtid="{D5CDD505-2E9C-101B-9397-08002B2CF9AE}" pid="13" name="ContentTypeId">
    <vt:lpwstr>0x0101000158F31BF6C948438E53C2CFC5C72515</vt:lpwstr>
  </property>
  <property fmtid="{D5CDD505-2E9C-101B-9397-08002B2CF9AE}" pid="14" name="VGCompatibilityCheck Run On">
    <vt:lpwstr>6/19/2014 4:12:03 AM</vt:lpwstr>
  </property>
</Properties>
</file>